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3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  <p:sldMasterId id="2147483693" r:id="rId2"/>
  </p:sldMasterIdLst>
  <p:notesMasterIdLst>
    <p:notesMasterId r:id="rId45"/>
  </p:notesMasterIdLst>
  <p:sldIdLst>
    <p:sldId id="256" r:id="rId3"/>
    <p:sldId id="291" r:id="rId4"/>
    <p:sldId id="292" r:id="rId5"/>
    <p:sldId id="293" r:id="rId6"/>
    <p:sldId id="294" r:id="rId7"/>
    <p:sldId id="295" r:id="rId8"/>
    <p:sldId id="296" r:id="rId9"/>
    <p:sldId id="297" r:id="rId10"/>
    <p:sldId id="303" r:id="rId11"/>
    <p:sldId id="304" r:id="rId12"/>
    <p:sldId id="305" r:id="rId13"/>
    <p:sldId id="306" r:id="rId14"/>
    <p:sldId id="307" r:id="rId15"/>
    <p:sldId id="308" r:id="rId16"/>
    <p:sldId id="309" r:id="rId17"/>
    <p:sldId id="310" r:id="rId18"/>
    <p:sldId id="311" r:id="rId19"/>
    <p:sldId id="312" r:id="rId20"/>
    <p:sldId id="257" r:id="rId21"/>
    <p:sldId id="259" r:id="rId22"/>
    <p:sldId id="260" r:id="rId23"/>
    <p:sldId id="266" r:id="rId24"/>
    <p:sldId id="276" r:id="rId25"/>
    <p:sldId id="277" r:id="rId26"/>
    <p:sldId id="278" r:id="rId27"/>
    <p:sldId id="279" r:id="rId28"/>
    <p:sldId id="280" r:id="rId29"/>
    <p:sldId id="281" r:id="rId30"/>
    <p:sldId id="282" r:id="rId31"/>
    <p:sldId id="283" r:id="rId32"/>
    <p:sldId id="284" r:id="rId33"/>
    <p:sldId id="285" r:id="rId34"/>
    <p:sldId id="286" r:id="rId35"/>
    <p:sldId id="287" r:id="rId36"/>
    <p:sldId id="288" r:id="rId37"/>
    <p:sldId id="289" r:id="rId38"/>
    <p:sldId id="290" r:id="rId39"/>
    <p:sldId id="268" r:id="rId40"/>
    <p:sldId id="269" r:id="rId41"/>
    <p:sldId id="270" r:id="rId42"/>
    <p:sldId id="271" r:id="rId43"/>
    <p:sldId id="273" r:id="rId4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494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B3584C-5A2E-4E30-A845-201FDFBCBDE3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CBD714-D006-45D5-93C0-7DE53B7489E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6485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Linds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31254-3E2A-413C-B32A-FCE3FE6A85CA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1572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E5B2EA-3A85-420C-805B-77C229D80F2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980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ru-RU" dirty="0">
                <a:cs typeface="+mn-lt"/>
              </a:rPr>
              <a:t/>
            </a:r>
            <a:br>
              <a:rPr lang="ru-RU" dirty="0">
                <a:cs typeface="+mn-lt"/>
              </a:rPr>
            </a:br>
            <a:endParaRPr lang="ru-RU" dirty="0">
              <a:cs typeface="Calibri"/>
            </a:endParaRPr>
          </a:p>
          <a:p>
            <a:pPr algn="l" rtl="0"/>
            <a:r>
              <a:rPr lang="ru-RU" dirty="0"/>
              <a:t/>
            </a:r>
            <a:br>
              <a:rPr lang="ru-RU" dirty="0"/>
            </a:br>
            <a:endParaRPr lang="ru-RU" dirty="0"/>
          </a:p>
          <a:p>
            <a:endParaRPr lang="ru-RU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AC131254-3E2A-413C-B32A-FCE3FE6A85CA}" type="slidenum">
              <a:r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1955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image" Target="../media/image7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9.png"/><Relationship Id="rId4" Type="http://schemas.openxmlformats.org/officeDocument/2006/relationships/image" Target="../media/image11.sv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4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6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8.sv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4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3.jpe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5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4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openxmlformats.org/officeDocument/2006/relationships/image" Target="../media/image5.png"/><Relationship Id="rId5" Type="http://schemas.openxmlformats.org/officeDocument/2006/relationships/image" Target="../media/image21.svg"/><Relationship Id="rId4" Type="http://schemas.openxmlformats.org/officeDocument/2006/relationships/image" Target="../media/image14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openxmlformats.org/officeDocument/2006/relationships/image" Target="../media/image5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3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6" Type="http://schemas.openxmlformats.org/officeDocument/2006/relationships/image" Target="../media/image5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5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28601"/>
            <a:ext cx="10363200" cy="4571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4800600"/>
            <a:ext cx="9144000" cy="9144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Rectangle 8"/>
          <p:cNvSpPr/>
          <p:nvPr/>
        </p:nvSpPr>
        <p:spPr>
          <a:xfrm>
            <a:off x="12001499" y="4846320"/>
            <a:ext cx="190501" cy="2011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2001499" y="0"/>
            <a:ext cx="190501" cy="4846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33776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1D1E3EDB-D7EB-F14E-A6D1-748C03EC5EDC}" type="slidenum">
              <a:rPr lang="en-GB" smtClean="0">
                <a:solidFill>
                  <a:prstClr val="white">
                    <a:lumMod val="75000"/>
                  </a:prstClr>
                </a:solidFill>
              </a:rPr>
              <a:pPr defTabSz="914377"/>
              <a:t>‹#›</a:t>
            </a:fld>
            <a:endParaRPr lang="en-GB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719999" y="1950722"/>
            <a:ext cx="5280000" cy="4201724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42" indent="-182870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70" indent="-182870">
              <a:buFont typeface="Lucida Grande"/>
              <a:buChar char="-"/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720000" y="600001"/>
            <a:ext cx="10752000" cy="332399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6"/>
          </p:nvPr>
        </p:nvSpPr>
        <p:spPr>
          <a:xfrm>
            <a:off x="720000" y="1152000"/>
            <a:ext cx="10752000" cy="576000"/>
          </a:xfrm>
        </p:spPr>
        <p:txBody>
          <a:bodyPr lIns="0" tIns="0"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192000" y="1959751"/>
            <a:ext cx="5280000" cy="4201724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42" indent="-182870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70" indent="-182870">
              <a:buFont typeface="Lucida Grande"/>
              <a:buChar char="-"/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26294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427368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337331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38"/>
            <a:ext cx="5068888" cy="496887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5"/>
            <a:ext cx="5068888" cy="113347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967078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838239425" name="image" descr="{&quot;templafy&quot;:{&quot;id&quot;:&quot;27cd5fea-6afb-43ad-b452-9edddb999943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64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188993823" name="image" descr="{&quot;templafy&quot;:{&quot;id&quot;:&quot;43cd64bb-2559-4ddf-a54e-73b4d0cd6291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379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7577140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757713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973218642" name="image" descr="{&quot;templafy&quot;:{&quot;id&quot;:&quot;6219979e-5a05-4640-aee8-55f480c44708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696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597"/>
            <a:ext cx="12192000" cy="68568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47904" cy="2173288"/>
          </a:xfrm>
        </p:spPr>
        <p:txBody>
          <a:bodyPr anchor="ctr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313177557" name="image" descr="{&quot;templafy&quot;:{&quot;id&quot;:&quot;f846a5e8-7b26-43fc-a56f-260bf754aa9b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0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6138279" cy="2173288"/>
          </a:xfrm>
        </p:spPr>
        <p:txBody>
          <a:bodyPr anchor="ctr" anchorCtr="0">
            <a:no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392000"/>
            <a:ext cx="6147903" cy="1620000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971605580" name="image" descr="{&quot;templafy&quot;:{&quot;id&quot;:&quot;3ce29b58-ad25-4433-ad93-163e08ba8b94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4" y="269875"/>
            <a:ext cx="2253600" cy="763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028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621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48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907391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756897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5" y="269877"/>
            <a:ext cx="11473224" cy="730788"/>
          </a:xfrm>
        </p:spPr>
        <p:txBody>
          <a:bodyPr anchor="t" anchorCtr="0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774" y="1011269"/>
            <a:ext cx="11473225" cy="787370"/>
          </a:xfrm>
        </p:spPr>
        <p:txBody>
          <a:bodyPr>
            <a:normAutofit/>
          </a:bodyPr>
          <a:lstStyle>
            <a:lvl1pPr marL="0" indent="0">
              <a:buNone/>
              <a:defRPr sz="48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765184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4" y="1947863"/>
            <a:ext cx="5626100" cy="4002087"/>
          </a:xfrm>
        </p:spPr>
        <p:txBody>
          <a:bodyPr numCol="1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9991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 numCol="2"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84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58775" y="1798911"/>
            <a:ext cx="1147286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809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39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4898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447801"/>
            <a:ext cx="10363200" cy="4321175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28601"/>
            <a:ext cx="10363200" cy="10668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1947325"/>
            <a:ext cx="3678237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4500" y="1947324"/>
            <a:ext cx="7575999" cy="40105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254500" y="1798911"/>
            <a:ext cx="75790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0103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47725" y="6946900"/>
            <a:ext cx="2743200" cy="365125"/>
          </a:xfrm>
          <a:prstGeom prst="rect">
            <a:avLst/>
          </a:prstGeom>
        </p:spPr>
        <p:txBody>
          <a:bodyPr/>
          <a:lstStyle/>
          <a:p>
            <a:fld id="{25BF746F-F7BD-4DAC-844B-31D72A7B82B4}" type="datetime1">
              <a:rPr lang="en-US" smtClean="0"/>
              <a:t>3/6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363" y="1990725"/>
            <a:ext cx="5626100" cy="17795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0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4001" y="1992089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4001" y="4179088"/>
            <a:ext cx="5626100" cy="1779588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203950" y="3994424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834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269875"/>
            <a:ext cx="8549050" cy="5688125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2400"/>
            </a:lvl3pPr>
            <a:lvl4pPr marL="0" indent="0">
              <a:buNone/>
              <a:defRPr sz="2400"/>
            </a:lvl4pPr>
            <a:lvl5pPr marL="0" indent="0">
              <a:buNone/>
              <a:defRPr sz="2400"/>
            </a:lvl5pPr>
          </a:lstStyle>
          <a:p>
            <a:pPr lvl="0"/>
            <a:r>
              <a:rPr lang="en-US"/>
              <a:t>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851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11471275" cy="4002087"/>
          </a:xfrm>
        </p:spPr>
        <p:txBody>
          <a:bodyPr/>
          <a:lstStyle>
            <a:lvl1pPr marL="447675" indent="-447675">
              <a:buFont typeface="+mj-lt"/>
              <a:buAutoNum type="arabicPeriod"/>
              <a:defRPr/>
            </a:lvl1pPr>
            <a:lvl2pPr marL="447675" indent="0">
              <a:buFont typeface="Arial" panose="020B0604020202020204" pitchFamily="34" charset="0"/>
              <a:buNone/>
              <a:defRPr/>
            </a:lvl2pPr>
            <a:lvl3pPr marL="447675" indent="0">
              <a:buFont typeface="Arial" panose="020B0604020202020204" pitchFamily="34" charset="0"/>
              <a:buNone/>
              <a:defRPr sz="2000"/>
            </a:lvl3pPr>
            <a:lvl4pPr marL="447675" indent="0">
              <a:buFont typeface="Arial" panose="020B0604020202020204" pitchFamily="34" charset="0"/>
              <a:buNone/>
              <a:defRPr sz="2000"/>
            </a:lvl4pPr>
            <a:lvl5pPr marL="447675" indent="0">
              <a:buFont typeface="Arial" panose="020B0604020202020204" pitchFamily="34" charset="0"/>
              <a:buNone/>
              <a:defRPr sz="20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93967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58775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203950" y="61042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3253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9639" y="3463301"/>
            <a:ext cx="3678237" cy="1438209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6036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or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253776" y="3463301"/>
            <a:ext cx="3678237" cy="144574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54500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or imag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147189" y="3463301"/>
            <a:ext cx="3678237" cy="14657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47913" y="1817888"/>
            <a:ext cx="3678237" cy="123348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con or ima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60001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52000" y="5080500"/>
            <a:ext cx="3678237" cy="877888"/>
          </a:xfrm>
        </p:spPr>
        <p:txBody>
          <a:bodyPr/>
          <a:lstStyle>
            <a:lvl1pPr marL="0" indent="0">
              <a:buNone/>
              <a:defRPr sz="7200"/>
            </a:lvl1pPr>
            <a:lvl2pPr marL="0" indent="0">
              <a:buNone/>
              <a:defRPr sz="7200"/>
            </a:lvl2pPr>
            <a:lvl3pPr marL="0" indent="0">
              <a:buNone/>
              <a:defRPr sz="7200"/>
            </a:lvl3pPr>
            <a:lvl4pPr marL="0" indent="0">
              <a:buNone/>
              <a:defRPr sz="7200"/>
            </a:lvl4pPr>
            <a:lvl5pPr marL="0" indent="0">
              <a:buNone/>
              <a:defRPr sz="720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58775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147189" y="3256236"/>
            <a:ext cx="368634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256088" y="3256236"/>
            <a:ext cx="36798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4950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81363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03951" y="1798638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26539" y="1797051"/>
            <a:ext cx="2706000" cy="1230312"/>
          </a:xfrm>
        </p:spPr>
        <p:txBody>
          <a:bodyPr/>
          <a:lstStyle>
            <a:lvl1pPr marL="0" indent="0">
              <a:buNone/>
              <a:defRPr sz="9600">
                <a:latin typeface="+mj-lt"/>
              </a:defRPr>
            </a:lvl1pPr>
            <a:lvl2pPr marL="0" indent="0">
              <a:buNone/>
              <a:defRPr sz="9600">
                <a:latin typeface="+mj-lt"/>
              </a:defRPr>
            </a:lvl2pPr>
            <a:lvl3pPr marL="0" indent="0">
              <a:buNone/>
              <a:defRPr sz="9600">
                <a:latin typeface="+mj-lt"/>
              </a:defRPr>
            </a:lvl3pPr>
            <a:lvl4pPr marL="0" indent="0">
              <a:buNone/>
              <a:defRPr sz="9600">
                <a:latin typeface="+mj-lt"/>
              </a:defRPr>
            </a:lvl4pPr>
            <a:lvl5pPr marL="0" indent="0">
              <a:buNone/>
              <a:defRPr sz="960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58775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281363" y="3027362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03950" y="3027363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124950" y="3027361"/>
            <a:ext cx="2706688" cy="2930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176269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0905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024257" y="1798638"/>
            <a:ext cx="0" cy="41592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2118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03950" y="0"/>
            <a:ext cx="5988050" cy="68580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464" y="1947863"/>
            <a:ext cx="5627999" cy="401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5627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8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17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5116513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3950" y="5276850"/>
            <a:ext cx="5627688" cy="681038"/>
          </a:xfr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85725" indent="-85725">
              <a:defRPr sz="80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171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6226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5626463" cy="93967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000" y="1933575"/>
            <a:ext cx="3636000" cy="40243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3949" y="0"/>
            <a:ext cx="5988051" cy="68580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11948" y="1933574"/>
            <a:ext cx="1774515" cy="4024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58464" y="1798638"/>
            <a:ext cx="36375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211948" y="1798638"/>
            <a:ext cx="17745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6548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13182504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74240" y="1574800"/>
            <a:ext cx="438912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86880" y="1574800"/>
            <a:ext cx="438912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306638" y="0"/>
            <a:ext cx="9885362" cy="68580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050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449177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276" y="4890575"/>
            <a:ext cx="1732000" cy="106731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▲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099276" y="47127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5445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35711"/>
            <a:ext cx="1732000" cy="408157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580845" y="352425"/>
            <a:ext cx="9611155" cy="650557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58775" y="26987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5648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99675" y="4875751"/>
            <a:ext cx="1732000" cy="105177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◄</a:t>
            </a:r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1"/>
            <a:ext cx="10560573" cy="632204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099675" y="4702715"/>
            <a:ext cx="173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8033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575736" y="0"/>
            <a:ext cx="6616264" cy="68580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1798638"/>
            <a:ext cx="5068888" cy="496887"/>
          </a:xfrm>
        </p:spPr>
        <p:txBody>
          <a:bodyPr/>
          <a:lstStyle>
            <a:lvl1pPr marL="0" indent="0">
              <a:buNone/>
              <a:defRPr sz="3200"/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8775" y="3641952"/>
            <a:ext cx="5068888" cy="2315936"/>
          </a:xfrm>
        </p:spPr>
        <p:txBody>
          <a:bodyPr/>
          <a:lstStyle>
            <a:lvl1pPr marL="0" indent="0">
              <a:buNone/>
              <a:defRPr sz="16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2295525"/>
            <a:ext cx="5068888" cy="1133475"/>
          </a:xfrm>
        </p:spPr>
        <p:txBody>
          <a:bodyPr/>
          <a:lstStyle>
            <a:lvl1pPr marL="0" indent="0">
              <a:buNone/>
              <a:defRPr sz="3200">
                <a:latin typeface="+mn-lt"/>
              </a:defRPr>
            </a:lvl1pPr>
            <a:lvl2pPr marL="0" indent="0">
              <a:buNone/>
              <a:defRPr sz="32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4065632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58775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 dirty="0"/>
              <a:t>Add </a:t>
            </a:r>
          </a:p>
          <a:p>
            <a:r>
              <a:rPr lang="en-US" dirty="0"/>
              <a:t>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9465" y="47627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58086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82053" y="47555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04641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24416" y="4766324"/>
            <a:ext cx="2705310" cy="1195164"/>
          </a:xfr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  <a:lvl2pPr marL="0" indent="0">
              <a:buNone/>
              <a:defRPr sz="1600">
                <a:latin typeface="+mn-lt"/>
              </a:defRPr>
            </a:lvl2pPr>
            <a:lvl3pPr marL="0" indent="0">
              <a:buNone/>
              <a:defRPr sz="1600">
                <a:latin typeface="+mn-lt"/>
              </a:defRPr>
            </a:lvl3pPr>
            <a:lvl4pPr marL="0" indent="0">
              <a:buNone/>
              <a:defRPr sz="1600">
                <a:latin typeface="+mn-lt"/>
              </a:defRPr>
            </a:lvl4pPr>
            <a:lvl5pPr marL="0" indent="0">
              <a:buNone/>
              <a:defRPr sz="160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1363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 dirty="0"/>
              <a:t>Add </a:t>
            </a:r>
          </a:p>
          <a:p>
            <a:r>
              <a:rPr lang="en-US" dirty="0"/>
              <a:t>imag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203951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 dirty="0"/>
              <a:t>Add </a:t>
            </a:r>
          </a:p>
          <a:p>
            <a:r>
              <a:rPr lang="en-US" dirty="0"/>
              <a:t>imag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123726" y="1798638"/>
            <a:ext cx="1630364" cy="1630364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00"/>
            </a:lvl1pPr>
          </a:lstStyle>
          <a:p>
            <a:r>
              <a:rPr lang="en-US" dirty="0"/>
              <a:t>Add </a:t>
            </a:r>
          </a:p>
          <a:p>
            <a:r>
              <a:rPr lang="en-US" dirty="0"/>
              <a:t>image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280674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279985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203951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203262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23726" y="4110037"/>
            <a:ext cx="2705311" cy="180000"/>
          </a:xfrm>
        </p:spPr>
        <p:txBody>
          <a:bodyPr/>
          <a:lstStyle>
            <a:lvl1pPr marL="0" indent="0">
              <a:buNone/>
              <a:defRPr sz="1100"/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23037" y="4290037"/>
            <a:ext cx="2705311" cy="180000"/>
          </a:xfrm>
        </p:spPr>
        <p:txBody>
          <a:bodyPr/>
          <a:lstStyle>
            <a:lvl1pPr marL="0" indent="0">
              <a:buNone/>
              <a:defRPr sz="1100" baseline="0"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100"/>
            </a:lvl2pPr>
            <a:lvl3pPr marL="0" indent="0">
              <a:buNone/>
              <a:defRPr sz="3200">
                <a:latin typeface="+mn-lt"/>
              </a:defRPr>
            </a:lvl3pPr>
            <a:lvl4pPr marL="0" indent="0">
              <a:buNone/>
              <a:defRPr sz="3200">
                <a:latin typeface="+mn-lt"/>
              </a:defRPr>
            </a:lvl4pPr>
            <a:lvl5pPr marL="177800" indent="0">
              <a:buNone/>
              <a:defRPr sz="320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58775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281363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202362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124950" y="391665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58775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281363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202362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124950" y="4621500"/>
            <a:ext cx="27066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8444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1520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06638" y="1450975"/>
            <a:ext cx="7577137" cy="2497138"/>
          </a:xfrm>
        </p:spPr>
        <p:txBody>
          <a:bodyPr/>
          <a:lstStyle>
            <a:lvl1pPr marL="0" indent="0" algn="ctr">
              <a:buNone/>
              <a:defRPr sz="4800"/>
            </a:lvl1pPr>
            <a:lvl2pPr marL="0" indent="0" algn="ctr">
              <a:buNone/>
              <a:defRPr sz="3200">
                <a:latin typeface="+mj-lt"/>
              </a:defRPr>
            </a:lvl2pPr>
            <a:lvl3pPr marL="0" indent="0" algn="ctr">
              <a:buNone/>
              <a:defRPr sz="2400">
                <a:latin typeface="+mj-lt"/>
              </a:defRPr>
            </a:lvl3pPr>
            <a:lvl4pPr marL="0" indent="0" algn="ctr">
              <a:buNone/>
              <a:defRPr sz="20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6000" y="4619567"/>
            <a:ext cx="3679999" cy="133112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0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256000" y="4326675"/>
            <a:ext cx="3679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897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2988785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395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70176" y="1572768"/>
            <a:ext cx="438912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70176" y="2259366"/>
            <a:ext cx="438912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790944" y="1572768"/>
            <a:ext cx="4389120" cy="63976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790944" y="2259366"/>
            <a:ext cx="438912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9"/>
            <a:ext cx="11474450" cy="18716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r>
              <a:rPr lang="en-GB" sz="800" dirty="0"/>
              <a:t/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 dirty="0"/>
          </a:p>
          <a:p>
            <a:endParaRPr lang="en-US" sz="800" dirty="0"/>
          </a:p>
        </p:txBody>
      </p:sp>
      <p:pic>
        <p:nvPicPr>
          <p:cNvPr id="698527584" name="image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775" y="5669377"/>
            <a:ext cx="2253600" cy="701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282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76200" y="34890"/>
            <a:ext cx="12049125" cy="678822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1557338"/>
            <a:ext cx="11474450" cy="1728787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r>
              <a:rPr lang="en-GB" sz="800" dirty="0"/>
              <a:t/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 dirty="0"/>
          </a:p>
          <a:p>
            <a:endParaRPr lang="en-US" sz="800" dirty="0"/>
          </a:p>
        </p:txBody>
      </p:sp>
      <p:pic>
        <p:nvPicPr>
          <p:cNvPr id="572829872" name="image" descr="{&quot;templafy&quot;:{&quot;id&quot;:&quot;8005a054-b96c-44f5-873f-c58a549af836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473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r>
              <a:rPr lang="en-GB" sz="800" dirty="0"/>
              <a:t/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 dirty="0"/>
          </a:p>
          <a:p>
            <a:endParaRPr lang="en-US" sz="800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18997438" name="image" descr="{&quot;templafy&quot;:{&quot;id&quot;:&quot;bbf7170c-7b11-436e-8d88-a245e73d5f7a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064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6"/>
            <a:ext cx="11474450" cy="1528762"/>
          </a:xfrm>
        </p:spPr>
        <p:txBody>
          <a:bodyPr/>
          <a:lstStyle>
            <a:lvl1pPr marL="0" indent="0">
              <a:buNone/>
              <a:defRPr sz="8800"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r>
              <a:rPr lang="en-GB" sz="800" dirty="0"/>
              <a:t/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 dirty="0"/>
          </a:p>
          <a:p>
            <a:endParaRPr lang="en-US" sz="800" dirty="0"/>
          </a:p>
        </p:txBody>
      </p:sp>
      <p:pic>
        <p:nvPicPr>
          <p:cNvPr id="2063333277" name="image" descr="{&quot;templafy&quot;:{&quot;id&quot;:&quot;60ad49b9-c1ce-4231-85f9-73c028f3f565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134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775" y="269877"/>
            <a:ext cx="11474450" cy="1528762"/>
          </a:xfrm>
        </p:spPr>
        <p:txBody>
          <a:bodyPr/>
          <a:lstStyle>
            <a:lvl1pPr marL="0" indent="0">
              <a:buNone/>
              <a:defRPr sz="88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8800">
                <a:latin typeface="+mj-lt"/>
              </a:defRPr>
            </a:lvl2pPr>
            <a:lvl3pPr marL="0" indent="0">
              <a:buNone/>
              <a:defRPr sz="8800">
                <a:latin typeface="+mj-lt"/>
              </a:defRPr>
            </a:lvl3pPr>
            <a:lvl4pPr marL="0" indent="0">
              <a:buNone/>
              <a:defRPr sz="8800">
                <a:latin typeface="+mj-lt"/>
              </a:defRPr>
            </a:lvl4pPr>
            <a:lvl5pPr marL="0" indent="0">
              <a:buNone/>
              <a:defRPr sz="8800">
                <a:latin typeface="+mj-lt"/>
              </a:defRPr>
            </a:lvl5pPr>
            <a:lvl6pPr marL="0" indent="0">
              <a:buNone/>
              <a:defRPr sz="880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795977" y="5633832"/>
            <a:ext cx="1741715" cy="7598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00"/>
              </a:spcAft>
            </a:pPr>
            <a:r>
              <a:rPr lang="en-US" sz="800" dirty="0"/>
              <a:t>The Global Fund to Fight</a:t>
            </a:r>
            <a:r>
              <a:rPr lang="en-GB" sz="800" dirty="0"/>
              <a:t/>
            </a:r>
            <a:br>
              <a:rPr lang="en-GB" sz="800" dirty="0"/>
            </a:br>
            <a:r>
              <a:rPr lang="en-US" sz="800" dirty="0"/>
              <a:t>AIDS, Tuberculosis and Malaria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+41 58 791 1700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u="none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00" u="none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/>
              <a:t> </a:t>
            </a:r>
            <a:endParaRPr lang="en-US" dirty="0"/>
          </a:p>
          <a:p>
            <a:endParaRPr lang="en-US" sz="800" dirty="0"/>
          </a:p>
        </p:txBody>
      </p:sp>
      <p:pic>
        <p:nvPicPr>
          <p:cNvPr id="79088133" name="image" descr="{&quot;templafy&quot;:{&quot;id&quot;:&quot;5be33b79-b64d-47df-8ee3-347c8b027536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5" y="5633832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082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20000" y="274721"/>
            <a:ext cx="7511638" cy="1477444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98638"/>
            <a:ext cx="12192000" cy="505936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pic>
        <p:nvPicPr>
          <p:cNvPr id="454989383" name="image" descr="{&quot;templafy&quot;:{&quot;id&quot;:&quot;ed8dab9e-90ac-452e-9eaf-1ee01947c4dd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895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561925" y="1"/>
            <a:ext cx="6630075" cy="68580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774" y="1798637"/>
            <a:ext cx="5627689" cy="2173288"/>
          </a:xfrm>
        </p:spPr>
        <p:txBody>
          <a:bodyPr anchor="t" anchorCtr="0">
            <a:noAutofit/>
          </a:bodyPr>
          <a:lstStyle>
            <a:lvl1pPr algn="l">
              <a:defRPr sz="480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392000"/>
            <a:ext cx="5627688" cy="1620000"/>
          </a:xfrm>
        </p:spPr>
        <p:txBody>
          <a:bodyPr/>
          <a:lstStyle>
            <a:lvl1pPr marL="0" indent="0">
              <a:buNone/>
              <a:defRPr sz="4800">
                <a:latin typeface="+mn-lt"/>
              </a:defRPr>
            </a:lvl1pPr>
            <a:lvl2pPr marL="0" indent="0">
              <a:buNone/>
              <a:defRPr sz="4800">
                <a:latin typeface="+mn-lt"/>
              </a:defRPr>
            </a:lvl2pPr>
            <a:lvl3pPr marL="0" indent="0">
              <a:buNone/>
              <a:defRPr sz="4800">
                <a:latin typeface="+mn-lt"/>
              </a:defRPr>
            </a:lvl3pPr>
            <a:lvl4pPr marL="0" indent="0">
              <a:buNone/>
              <a:defRPr sz="4800">
                <a:latin typeface="+mn-lt"/>
              </a:defRPr>
            </a:lvl4pPr>
            <a:lvl5pPr marL="0" indent="0">
              <a:buNone/>
              <a:defRPr sz="4800">
                <a:latin typeface="+mn-lt"/>
              </a:defRPr>
            </a:lvl5pPr>
            <a:lvl6pPr marL="0" indent="0">
              <a:buNone/>
              <a:defRPr sz="480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99693321" name="image" descr="{&quot;templafy&quot;:{&quot;id&quot;:&quot;a03e2a4a-c87f-4bf2-824a-91dd10731e6f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42" y="283850"/>
            <a:ext cx="2253600" cy="77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555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9432446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/>
              <a:t>Click to add item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677953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3F8A32-CA55-3939-D988-254B75277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4F355F-06A3-C5A2-10C1-3B6F034964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61D208-6157-E70B-945B-DB04716EF4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187004-903D-4171-AE1A-D6AA018F0383}" type="datetimeFigureOut">
              <a:rPr lang="en-US" smtClean="0"/>
              <a:t>3/6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4C2011-060E-49F7-5F8C-E39D2332FE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39E5AA-6318-8F5E-55B4-7F59077FD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A737A-2552-4EF1-AFEE-26A87268C3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265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33776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377"/>
            <a:fld id="{1D1E3EDB-D7EB-F14E-A6D1-748C03EC5EDC}" type="slidenum">
              <a:rPr lang="en-GB" smtClean="0">
                <a:solidFill>
                  <a:prstClr val="white">
                    <a:lumMod val="75000"/>
                  </a:prstClr>
                </a:solidFill>
              </a:rPr>
              <a:pPr defTabSz="914377"/>
              <a:t>‹#›</a:t>
            </a:fld>
            <a:endParaRPr lang="en-GB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719999" y="1950722"/>
            <a:ext cx="5280000" cy="4201724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42" indent="-182870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70" indent="-182870">
              <a:buFont typeface="Lucida Grande"/>
              <a:buChar char="-"/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720000" y="600001"/>
            <a:ext cx="10752000" cy="332399"/>
          </a:xfrm>
        </p:spPr>
        <p:txBody>
          <a:bodyPr anchor="t" anchorCtr="0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6"/>
          </p:nvPr>
        </p:nvSpPr>
        <p:spPr>
          <a:xfrm>
            <a:off x="720000" y="1152000"/>
            <a:ext cx="10752000" cy="576000"/>
          </a:xfrm>
        </p:spPr>
        <p:txBody>
          <a:bodyPr lIns="0" tIns="0"/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6192000" y="1959751"/>
            <a:ext cx="5280000" cy="4201724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2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2000" baseline="0"/>
            </a:lvl3pPr>
            <a:lvl4pPr marL="365742" indent="-182870">
              <a:spcBef>
                <a:spcPts val="0"/>
              </a:spcBef>
              <a:buFont typeface="Lucida Grande"/>
              <a:buChar char="&gt;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609570" indent="-182870">
              <a:buFont typeface="Lucida Grande"/>
              <a:buChar char="-"/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98384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FE1E4-C7CE-27D6-C197-8D3A7347EF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2368E77-60F4-86C9-21A8-3606409486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0187004-903D-4171-AE1A-D6AA018F0383}" type="datetimeFigureOut">
              <a:rPr lang="en-US" smtClean="0"/>
              <a:t>3/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7989F9-1981-9E32-05E8-521717E85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1163DE-8BA6-C94C-D982-5E912BEA9C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A737A-2552-4EF1-AFEE-26A87268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564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26427306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03639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60363" y="1947863"/>
            <a:ext cx="5627999" cy="40020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58775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203950" y="1798911"/>
            <a:ext cx="562958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9021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270001"/>
            <a:ext cx="11471638" cy="46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639" y="742950"/>
            <a:ext cx="11471999" cy="468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20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5523673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066760-B045-699F-27C9-CE649D0E2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3F1A2D-6BB1-4C37-D4E7-2ADAF99006A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EEB5CB-AC02-B651-6010-BE22DCE7F2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5A8D68-06E0-3F13-9390-6CCFF8559E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0187004-903D-4171-AE1A-D6AA018F0383}" type="datetimeFigureOut">
              <a:rPr lang="en-US" smtClean="0"/>
              <a:t>3/6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566199-30CA-717D-0B05-9ED2D0DD0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8AC8FC-A2FF-CCB2-B55C-DA81F14034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4A737A-2552-4EF1-AFEE-26A87268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776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600200"/>
            <a:ext cx="6815667" cy="44805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600200"/>
            <a:ext cx="4011084" cy="44805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2001499" y="4846320"/>
            <a:ext cx="190501" cy="20116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0"/>
            <a:ext cx="12001169" cy="48463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5715000"/>
            <a:ext cx="10871200" cy="4572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4953000"/>
            <a:ext cx="10871200" cy="7620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2001499" y="0"/>
            <a:ext cx="190501" cy="48463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9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42" Type="http://schemas.openxmlformats.org/officeDocument/2006/relationships/slideLayout" Target="../slideLayouts/slideLayout57.xml"/><Relationship Id="rId47" Type="http://schemas.openxmlformats.org/officeDocument/2006/relationships/slideLayout" Target="../slideLayouts/slideLayout62.xml"/><Relationship Id="rId50" Type="http://schemas.openxmlformats.org/officeDocument/2006/relationships/slideLayout" Target="../slideLayouts/slideLayout65.xml"/><Relationship Id="rId55" Type="http://schemas.openxmlformats.org/officeDocument/2006/relationships/image" Target="../media/image2.jpeg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40" Type="http://schemas.openxmlformats.org/officeDocument/2006/relationships/slideLayout" Target="../slideLayouts/slideLayout55.xml"/><Relationship Id="rId45" Type="http://schemas.openxmlformats.org/officeDocument/2006/relationships/slideLayout" Target="../slideLayouts/slideLayout60.xml"/><Relationship Id="rId53" Type="http://schemas.openxmlformats.org/officeDocument/2006/relationships/tags" Target="../tags/tag4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4" Type="http://schemas.openxmlformats.org/officeDocument/2006/relationships/slideLayout" Target="../slideLayouts/slideLayout59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43" Type="http://schemas.openxmlformats.org/officeDocument/2006/relationships/slideLayout" Target="../slideLayouts/slideLayout58.xml"/><Relationship Id="rId48" Type="http://schemas.openxmlformats.org/officeDocument/2006/relationships/slideLayout" Target="../slideLayouts/slideLayout63.xml"/><Relationship Id="rId8" Type="http://schemas.openxmlformats.org/officeDocument/2006/relationships/slideLayout" Target="../slideLayouts/slideLayout23.xml"/><Relationship Id="rId51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4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56.xml"/><Relationship Id="rId54" Type="http://schemas.openxmlformats.org/officeDocument/2006/relationships/tags" Target="../tags/tag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4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52718"/>
            <a:ext cx="7721600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752601"/>
            <a:ext cx="10160000" cy="4373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172201"/>
            <a:ext cx="4572000" cy="3048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61B051B-DF80-4B3E-9DBE-054A01C2FD56}" type="datetimeFigureOut">
              <a:rPr lang="ru-RU" smtClean="0"/>
              <a:t>06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" y="6492876"/>
            <a:ext cx="4572000" cy="28384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11189124" y="5824644"/>
            <a:ext cx="1315721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35B28B85-70F2-43A1-A5E2-57516C495D67}" type="slidenum">
              <a:rPr lang="ru-RU" smtClean="0"/>
              <a:t>‹#›</a:t>
            </a:fld>
            <a:endParaRPr lang="ru-RU"/>
          </a:p>
        </p:txBody>
      </p:sp>
      <p:sp>
        <p:nvSpPr>
          <p:cNvPr id="7" name="Rectangle 6"/>
          <p:cNvSpPr/>
          <p:nvPr/>
        </p:nvSpPr>
        <p:spPr>
          <a:xfrm>
            <a:off x="12001499" y="0"/>
            <a:ext cx="190501" cy="137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2001499" y="1371600"/>
            <a:ext cx="190501" cy="5486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</p:sldLayoutIdLst>
  <p:txStyles>
    <p:titleStyle>
      <a:lvl1pPr algn="l" defTabSz="914400" rtl="0" eaLnBrk="1" latinLnBrk="0" hangingPunct="1">
        <a:spcBef>
          <a:spcPct val="0"/>
        </a:spcBef>
        <a:buNone/>
        <a:defRPr sz="3600" kern="1200" cap="all" spc="-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52"/>
            </p:custDataLst>
          </p:nvPr>
        </p:nvSpPr>
        <p:spPr>
          <a:xfrm>
            <a:off x="360000" y="270001"/>
            <a:ext cx="11472000" cy="9396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53"/>
            </p:custDataLst>
          </p:nvPr>
        </p:nvSpPr>
        <p:spPr>
          <a:xfrm>
            <a:off x="360000" y="1800001"/>
            <a:ext cx="11472000" cy="4157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647950" y="6203950"/>
            <a:ext cx="69056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4700" y="6203950"/>
            <a:ext cx="8973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0" y="0"/>
            <a:ext cx="635000" cy="254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rgbClr val="FFFFFF"/>
              </a:solidFill>
            </a:endParaRPr>
          </a:p>
        </p:txBody>
      </p:sp>
      <p:pic>
        <p:nvPicPr>
          <p:cNvPr id="1504608423" name="image"/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2459" y="6425739"/>
            <a:ext cx="1753697" cy="29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266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22" r:id="rId29"/>
    <p:sldLayoutId id="2147483723" r:id="rId30"/>
    <p:sldLayoutId id="2147483724" r:id="rId31"/>
    <p:sldLayoutId id="2147483725" r:id="rId32"/>
    <p:sldLayoutId id="2147483726" r:id="rId33"/>
    <p:sldLayoutId id="2147483727" r:id="rId34"/>
    <p:sldLayoutId id="2147483728" r:id="rId35"/>
    <p:sldLayoutId id="2147483729" r:id="rId36"/>
    <p:sldLayoutId id="2147483730" r:id="rId37"/>
    <p:sldLayoutId id="2147483731" r:id="rId38"/>
    <p:sldLayoutId id="2147483732" r:id="rId39"/>
    <p:sldLayoutId id="2147483733" r:id="rId40"/>
    <p:sldLayoutId id="2147483734" r:id="rId41"/>
    <p:sldLayoutId id="2147483735" r:id="rId42"/>
    <p:sldLayoutId id="2147483736" r:id="rId43"/>
    <p:sldLayoutId id="2147483737" r:id="rId44"/>
    <p:sldLayoutId id="2147483738" r:id="rId45"/>
    <p:sldLayoutId id="2147483739" r:id="rId46"/>
    <p:sldLayoutId id="2147483740" r:id="rId47"/>
    <p:sldLayoutId id="2147483741" r:id="rId48"/>
    <p:sldLayoutId id="2147483742" r:id="rId49"/>
    <p:sldLayoutId id="2147483743" r:id="rId5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.bin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52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1.png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1.xml"/><Relationship Id="rId6" Type="http://schemas.openxmlformats.org/officeDocument/2006/relationships/image" Target="../media/image20.png"/><Relationship Id="rId11" Type="http://schemas.openxmlformats.org/officeDocument/2006/relationships/image" Target="../media/image50.svg"/><Relationship Id="rId5" Type="http://schemas.openxmlformats.org/officeDocument/2006/relationships/image" Target="../media/image19.png"/><Relationship Id="rId15" Type="http://schemas.openxmlformats.org/officeDocument/2006/relationships/image" Target="../media/image54.svg"/><Relationship Id="rId10" Type="http://schemas.openxmlformats.org/officeDocument/2006/relationships/image" Target="../media/image23.png"/><Relationship Id="rId4" Type="http://schemas.openxmlformats.org/officeDocument/2006/relationships/image" Target="../media/image18.png"/><Relationship Id="rId9" Type="http://schemas.openxmlformats.org/officeDocument/2006/relationships/image" Target="../media/image48.svg"/><Relationship Id="rId14" Type="http://schemas.openxmlformats.org/officeDocument/2006/relationships/image" Target="../media/image25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www.theglobalfund.org/media/4762/core_tuberculosis_infonote_en.pdf" TargetMode="External"/><Relationship Id="rId2" Type="http://schemas.openxmlformats.org/officeDocument/2006/relationships/tags" Target="../tags/tag52.xml"/><Relationship Id="rId1" Type="http://schemas.openxmlformats.org/officeDocument/2006/relationships/vmlDrawing" Target="../drawings/vmlDrawing3.vml"/><Relationship Id="rId6" Type="http://schemas.openxmlformats.org/officeDocument/2006/relationships/hyperlink" Target="https://www.theglobalfund.org/media/4765/core_hiv_infonote_en.pdf" TargetMode="External"/><Relationship Id="rId11" Type="http://schemas.openxmlformats.org/officeDocument/2006/relationships/image" Target="../media/image65.svg"/><Relationship Id="rId5" Type="http://schemas.openxmlformats.org/officeDocument/2006/relationships/image" Target="../media/image17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3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1511" y="1385456"/>
            <a:ext cx="11096978" cy="2938188"/>
          </a:xfrm>
        </p:spPr>
        <p:txBody>
          <a:bodyPr>
            <a:noAutofit/>
          </a:bodyPr>
          <a:lstStyle/>
          <a:p>
            <a:pPr algn="ctr"/>
            <a:r>
              <a:rPr lang="ru-RU" sz="4000" dirty="0" smtClean="0"/>
              <a:t> Запрос на финансирование в ГФ на 2024-2026 гг. </a:t>
            </a:r>
            <a:br>
              <a:rPr lang="ru-RU" sz="4000" dirty="0" smtClean="0"/>
            </a:br>
            <a:r>
              <a:rPr lang="ru-RU" sz="4000" dirty="0" smtClean="0">
                <a:solidFill>
                  <a:srgbClr val="FF0000"/>
                </a:solidFill>
              </a:rPr>
              <a:t>И почему подготовлен таким образом!!!</a:t>
            </a:r>
            <a:endParaRPr lang="ru-RU" sz="4000" dirty="0">
              <a:solidFill>
                <a:srgbClr val="FF0000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25689" y="5375563"/>
            <a:ext cx="10578923" cy="889769"/>
          </a:xfrm>
        </p:spPr>
        <p:txBody>
          <a:bodyPr>
            <a:noAutofit/>
          </a:bodyPr>
          <a:lstStyle/>
          <a:p>
            <a:pPr algn="ctr"/>
            <a:r>
              <a:rPr lang="ru-RU" dirty="0" err="1" smtClean="0"/>
              <a:t>Г.Бишкек</a:t>
            </a:r>
            <a:r>
              <a:rPr lang="ru-RU" dirty="0" smtClean="0"/>
              <a:t> </a:t>
            </a:r>
          </a:p>
          <a:p>
            <a:pPr algn="ctr"/>
            <a:r>
              <a:rPr lang="ru-RU" dirty="0" smtClean="0"/>
              <a:t>2023 г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43818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69877"/>
            <a:ext cx="11473224" cy="1069396"/>
          </a:xfrm>
        </p:spPr>
        <p:txBody>
          <a:bodyPr/>
          <a:lstStyle/>
          <a:p>
            <a:pPr algn="ctr"/>
            <a:r>
              <a:rPr lang="ru-RU" sz="3200" dirty="0" smtClean="0"/>
              <a:t>Из письма ГФ о </a:t>
            </a:r>
            <a:r>
              <a:rPr lang="ru-RU" sz="3200" dirty="0"/>
              <a:t>выделении </a:t>
            </a:r>
            <a:r>
              <a:rPr lang="ru-RU" sz="3200" dirty="0" smtClean="0"/>
              <a:t>средств</a:t>
            </a:r>
            <a:br>
              <a:rPr lang="ru-RU" sz="3200" dirty="0" smtClean="0"/>
            </a:br>
            <a:r>
              <a:rPr lang="ru-RU" sz="3200" dirty="0">
                <a:solidFill>
                  <a:srgbClr val="FF0000"/>
                </a:solidFill>
              </a:rPr>
              <a:t>Важные </a:t>
            </a:r>
            <a:r>
              <a:rPr lang="ru-RU" sz="3200" dirty="0" smtClean="0">
                <a:solidFill>
                  <a:srgbClr val="FF0000"/>
                </a:solidFill>
              </a:rPr>
              <a:t>инвестиции</a:t>
            </a: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64458" y="1226911"/>
            <a:ext cx="11473225" cy="787370"/>
          </a:xfrm>
        </p:spPr>
        <p:txBody>
          <a:bodyPr>
            <a:noAutofit/>
          </a:bodyPr>
          <a:lstStyle/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/>
              <a:t>Инвестиции в ЖУСЗ должны обеспечивать комплексное оказание услуг по всем трем заболеваниям и не только по </a:t>
            </a:r>
            <a:r>
              <a:rPr lang="ru-RU" sz="2400" dirty="0" smtClean="0"/>
              <a:t>ним.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…Чтобы </a:t>
            </a:r>
            <a:r>
              <a:rPr lang="ru-RU" sz="2400" dirty="0"/>
              <a:t>услуги могли отвечать конкретным запросам наиболее затрагиваемых групп, сообществам следует оказывать поддержку, чтобы они могли играть ведущую роль в разработке, реализации, мониторинге и оказании экспертной технической помощи программам по борьбе с </a:t>
            </a:r>
            <a:r>
              <a:rPr lang="ru-RU" sz="2400" dirty="0" smtClean="0"/>
              <a:t>заболеваниями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/>
              <a:t>Предполагается, что </a:t>
            </a:r>
            <a:r>
              <a:rPr lang="ru-RU" sz="2400" dirty="0" smtClean="0"/>
              <a:t>страны </a:t>
            </a:r>
            <a:r>
              <a:rPr lang="ru-RU" sz="2400" dirty="0"/>
              <a:t>с ускорением приложат усилия по продвижению гендерного равенства и внедрению подходов, меняющих гендерные отношения, в соответствии со Стратегией </a:t>
            </a:r>
            <a:r>
              <a:rPr lang="ru-RU" sz="2400" dirty="0" smtClean="0"/>
              <a:t>ГФ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b="1" dirty="0">
                <a:solidFill>
                  <a:srgbClr val="FF0000"/>
                </a:solidFill>
              </a:rPr>
              <a:t>Доказательные решения</a:t>
            </a:r>
            <a:r>
              <a:rPr lang="ru-RU" sz="2400" dirty="0"/>
              <a:t>, касающиеся инвестирования, </a:t>
            </a:r>
            <a:r>
              <a:rPr lang="ru-RU" sz="2400" b="1" dirty="0">
                <a:solidFill>
                  <a:srgbClr val="FF0000"/>
                </a:solidFill>
              </a:rPr>
              <a:t>имеют принципиальное значение</a:t>
            </a:r>
            <a:r>
              <a:rPr lang="ru-RU" sz="2400" dirty="0"/>
              <a:t>, когда нужно оптимальным образом выделять внутренние и </a:t>
            </a:r>
            <a:r>
              <a:rPr lang="ru-RU" sz="2400" dirty="0" err="1"/>
              <a:t>грантовые</a:t>
            </a:r>
            <a:r>
              <a:rPr lang="ru-RU" sz="2400" dirty="0"/>
              <a:t> средства на программы по заболеваниям, программные и системные меры вмешательства</a:t>
            </a: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0395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69877"/>
            <a:ext cx="11473224" cy="1069396"/>
          </a:xfrm>
        </p:spPr>
        <p:txBody>
          <a:bodyPr/>
          <a:lstStyle/>
          <a:p>
            <a:pPr algn="ctr"/>
            <a:r>
              <a:rPr lang="ru-RU" sz="3200" dirty="0" smtClean="0"/>
              <a:t>Портфолио-анализ (ТБ)</a:t>
            </a:r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en-US" sz="3200" dirty="0" smtClean="0">
                <a:solidFill>
                  <a:srgbClr val="FF0000"/>
                </a:solidFill>
              </a:rPr>
              <a:t>TRP</a:t>
            </a:r>
            <a:r>
              <a:rPr lang="en-US" sz="3200" dirty="0" smtClean="0"/>
              <a:t> </a:t>
            </a:r>
            <a:r>
              <a:rPr lang="ru-RU" sz="3200" dirty="0" smtClean="0">
                <a:solidFill>
                  <a:srgbClr val="FF0000"/>
                </a:solidFill>
              </a:rPr>
              <a:t>ГФ будет оценивать</a:t>
            </a:r>
            <a:r>
              <a:rPr lang="en-US" sz="3200" dirty="0" smtClean="0">
                <a:solidFill>
                  <a:srgbClr val="FF0000"/>
                </a:solidFill>
              </a:rPr>
              <a:t> </a:t>
            </a:r>
            <a:r>
              <a:rPr lang="ru-RU" sz="3200" dirty="0" smtClean="0">
                <a:solidFill>
                  <a:srgbClr val="FF0000"/>
                </a:solidFill>
              </a:rPr>
              <a:t>опираясь на него </a:t>
            </a: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64458" y="1226911"/>
            <a:ext cx="11473225" cy="787370"/>
          </a:xfrm>
        </p:spPr>
        <p:txBody>
          <a:bodyPr>
            <a:no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Восстановить </a:t>
            </a:r>
            <a:r>
              <a:rPr lang="ru-RU" sz="2400" dirty="0"/>
              <a:t>достижения противотуберкулезных служб, пострадавших от сбоев в связи с COVID-19 </a:t>
            </a:r>
            <a:endParaRPr lang="ru-RU" sz="2400" dirty="0" smtClean="0"/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/>
              <a:t>Ускорить переход на более короткие схемы лечения ЛУ-ТБ, включая </a:t>
            </a:r>
            <a:r>
              <a:rPr lang="ru-RU" sz="2400" dirty="0" err="1"/>
              <a:t>BPaL</a:t>
            </a:r>
            <a:r>
              <a:rPr lang="ru-RU" sz="2400" dirty="0"/>
              <a:t>(M</a:t>
            </a:r>
            <a:r>
              <a:rPr lang="ru-RU" sz="2400" dirty="0" smtClean="0"/>
              <a:t>)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/>
              <a:t>Проанализируйте и сократите время начала лечения МЛУ-ТБ </a:t>
            </a:r>
            <a:endParaRPr lang="ru-RU" sz="2400" dirty="0" smtClean="0"/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оддерживать </a:t>
            </a:r>
            <a:r>
              <a:rPr lang="ru-RU" sz="2400" dirty="0"/>
              <a:t>дальнейшее внедрение экспресс-молекулярного тестирования. </a:t>
            </a:r>
            <a:endParaRPr lang="ru-RU" sz="2400" dirty="0" smtClean="0"/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/>
              <a:t>Медленное внедрение быстрых методов диагностики ТБ, рекомендованных ВОЗ (</a:t>
            </a:r>
            <a:r>
              <a:rPr lang="en-US" sz="2400" dirty="0" err="1"/>
              <a:t>Xpert</a:t>
            </a:r>
            <a:r>
              <a:rPr lang="en-US" sz="2400" dirty="0"/>
              <a:t> MTB/RIF (including Ultra), lateral flow urine </a:t>
            </a:r>
            <a:r>
              <a:rPr lang="en-US" sz="2400" dirty="0" err="1"/>
              <a:t>lipoarabinomannan</a:t>
            </a:r>
            <a:r>
              <a:rPr lang="en-US" sz="2400" dirty="0"/>
              <a:t> assay (LF-LAM</a:t>
            </a:r>
            <a:r>
              <a:rPr lang="en-US" sz="2400" dirty="0" smtClean="0"/>
              <a:t>)</a:t>
            </a:r>
            <a:endParaRPr lang="ru-RU" sz="2400" dirty="0" smtClean="0"/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родолжить </a:t>
            </a:r>
            <a:r>
              <a:rPr lang="ru-RU" sz="2400" dirty="0"/>
              <a:t>работу по устранению региональных различий в потенциале лабораторий по ТБ, уделяя особое внимание повышению эффективности уже существующих лабораторий и улучшению системы транспортировки мокроты.</a:t>
            </a: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5468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69877"/>
            <a:ext cx="11473224" cy="1069396"/>
          </a:xfrm>
        </p:spPr>
        <p:txBody>
          <a:bodyPr/>
          <a:lstStyle/>
          <a:p>
            <a:pPr algn="ctr"/>
            <a:r>
              <a:rPr lang="ru-RU" sz="3200" dirty="0" smtClean="0"/>
              <a:t>Портфолио-анализ (ТБ)</a:t>
            </a:r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en-US" sz="3200" dirty="0" smtClean="0">
                <a:solidFill>
                  <a:srgbClr val="FF0000"/>
                </a:solidFill>
              </a:rPr>
              <a:t>TRP</a:t>
            </a:r>
            <a:r>
              <a:rPr lang="en-US" sz="3200" dirty="0" smtClean="0"/>
              <a:t> </a:t>
            </a:r>
            <a:r>
              <a:rPr lang="ru-RU" sz="3200" dirty="0" smtClean="0">
                <a:solidFill>
                  <a:srgbClr val="FF0000"/>
                </a:solidFill>
              </a:rPr>
              <a:t>ГФ будет оценивать</a:t>
            </a:r>
            <a:r>
              <a:rPr lang="en-US" sz="3200" dirty="0" smtClean="0">
                <a:solidFill>
                  <a:srgbClr val="FF0000"/>
                </a:solidFill>
              </a:rPr>
              <a:t> </a:t>
            </a:r>
            <a:r>
              <a:rPr lang="ru-RU" sz="3200" dirty="0" smtClean="0">
                <a:solidFill>
                  <a:srgbClr val="FF0000"/>
                </a:solidFill>
              </a:rPr>
              <a:t>опираясь на него </a:t>
            </a: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64458" y="1226911"/>
            <a:ext cx="11473225" cy="787370"/>
          </a:xfrm>
        </p:spPr>
        <p:txBody>
          <a:bodyPr>
            <a:no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/>
              <a:t>Продолжать обучение персонала, повышающее качество образцов биологического материала, и уделить внимание в первую очередь технике сбора </a:t>
            </a:r>
            <a:r>
              <a:rPr lang="ru-RU" sz="2400" dirty="0" smtClean="0"/>
              <a:t>мокроты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родвигать </a:t>
            </a:r>
            <a:r>
              <a:rPr lang="ru-RU" sz="2400" dirty="0"/>
              <a:t>амбулаторное лечение ТБ вместо </a:t>
            </a:r>
            <a:r>
              <a:rPr lang="ru-RU" sz="2400" dirty="0" smtClean="0"/>
              <a:t>госпитализации, </a:t>
            </a:r>
            <a:r>
              <a:rPr lang="ru-RU" sz="2400" dirty="0"/>
              <a:t>при этом около 80% пациентов по-прежнему госпитализируются, по крайней мере, на интенсивную фазу лечения, а зачастую и на более длительный </a:t>
            </a:r>
            <a:r>
              <a:rPr lang="ru-RU" sz="2400" dirty="0" smtClean="0"/>
              <a:t>срок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лохая </a:t>
            </a:r>
            <a:r>
              <a:rPr lang="ru-RU" sz="2400" dirty="0"/>
              <a:t>профилактика и контроль инфекций (ПКИ) во многих медицинских учреждениях, что напрямую способствует распространению </a:t>
            </a:r>
            <a:r>
              <a:rPr lang="ru-RU" sz="2400" dirty="0" smtClean="0"/>
              <a:t>МЛУ-ТБ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о-прежнему </a:t>
            </a:r>
            <a:r>
              <a:rPr lang="ru-RU" sz="2400" dirty="0"/>
              <a:t>неоптимальные показатели успешности лечения при РР/МЛУ, ШЛУ ТБ и </a:t>
            </a:r>
            <a:r>
              <a:rPr lang="ru-RU" sz="2400" dirty="0" smtClean="0"/>
              <a:t>ТБ/ВИЧ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/>
              <a:t>Проанализировать имеющиеся данные по ведению НЯ и провести дополнительные тренинги для повышения квалификации специалистов, особенно специалистов амбулаторного лечения </a:t>
            </a:r>
            <a:endParaRPr lang="ru-RU" sz="24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22514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69877"/>
            <a:ext cx="11473224" cy="566146"/>
          </a:xfrm>
        </p:spPr>
        <p:txBody>
          <a:bodyPr/>
          <a:lstStyle/>
          <a:p>
            <a:pPr algn="ctr"/>
            <a:r>
              <a:rPr lang="ru-RU" sz="3200" dirty="0" smtClean="0"/>
              <a:t>Портфолио-анализ (ТБ)</a:t>
            </a:r>
            <a:r>
              <a:rPr lang="ru-RU" sz="3200" dirty="0" smtClean="0"/>
              <a:t/>
            </a:r>
            <a:br>
              <a:rPr lang="ru-RU" sz="3200" dirty="0" smtClean="0"/>
            </a:b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5750" y="836023"/>
            <a:ext cx="11473225" cy="787370"/>
          </a:xfrm>
        </p:spPr>
        <p:txBody>
          <a:bodyPr>
            <a:no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/>
              <a:t>Низкий охват профилактическим лечением детей и </a:t>
            </a:r>
            <a:r>
              <a:rPr lang="ru-RU" sz="2400" dirty="0" smtClean="0"/>
              <a:t>ЛЖВ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/>
              <a:t>Слабое взаимодействие отдела фармакологического надзора управления регистрацией ЛС и национальной противотуберкулезной программы </a:t>
            </a:r>
            <a:endParaRPr lang="ru-RU" sz="24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роведение </a:t>
            </a:r>
            <a:r>
              <a:rPr lang="ru-RU" sz="2400" dirty="0"/>
              <a:t>инвентаризационного исследования для анализа и оценки доли занижения </a:t>
            </a:r>
            <a:r>
              <a:rPr lang="ru-RU" sz="2400" dirty="0" smtClean="0"/>
              <a:t>сведений и </a:t>
            </a:r>
            <a:r>
              <a:rPr lang="ru-RU" sz="2400" dirty="0"/>
              <a:t>обоснованности классификации </a:t>
            </a:r>
            <a:r>
              <a:rPr lang="ru-RU" sz="2400" dirty="0" smtClean="0"/>
              <a:t>рецидивов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/>
              <a:t> </a:t>
            </a:r>
            <a:r>
              <a:rPr lang="ru-RU" sz="2400" dirty="0" smtClean="0"/>
              <a:t>Улучшить </a:t>
            </a:r>
            <a:r>
              <a:rPr lang="ru-RU" sz="2400" dirty="0"/>
              <a:t>своевременность отчетности по ТБ, так как КР является единственной страной в регионе ВЕЦА, представляющей данные по ТБ с 3-месячной </a:t>
            </a:r>
            <a:r>
              <a:rPr lang="ru-RU" sz="2400" dirty="0" smtClean="0"/>
              <a:t>задержкой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/>
              <a:t>Мониторинг лечения выполняется не в полном объеме, что связано с низким качеством образцов мокроты, проблемами в транспортировке биологического материала </a:t>
            </a:r>
            <a:endParaRPr lang="ru-RU" sz="24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/>
              <a:t>Не функционируют – в процессе разработки и тестирования – некоторые модули в информационной системе “ТБ МИС” </a:t>
            </a:r>
            <a:endParaRPr lang="ru-RU" sz="24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/>
              <a:t>Продолжить работу во всех направлениях по снижению стигмы и улучшению коммуникации в здравоохранении </a:t>
            </a: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24648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69877"/>
            <a:ext cx="11473224" cy="566146"/>
          </a:xfrm>
        </p:spPr>
        <p:txBody>
          <a:bodyPr/>
          <a:lstStyle/>
          <a:p>
            <a:pPr algn="ctr"/>
            <a:r>
              <a:rPr lang="ru-RU" sz="3200" dirty="0" smtClean="0"/>
              <a:t>Портфолио-анализ (ТБ)</a:t>
            </a:r>
            <a:r>
              <a:rPr lang="ru-RU" sz="3200" dirty="0" smtClean="0"/>
              <a:t/>
            </a:r>
            <a:br>
              <a:rPr lang="ru-RU" sz="3200" dirty="0" smtClean="0"/>
            </a:b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5750" y="836023"/>
            <a:ext cx="11473225" cy="787370"/>
          </a:xfrm>
        </p:spPr>
        <p:txBody>
          <a:bodyPr>
            <a:no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барьеры</a:t>
            </a:r>
            <a:r>
              <a:rPr lang="ru-RU" sz="2400" dirty="0"/>
              <a:t>, связанные с правами человека, сохраняются, масштаб и темпы правозащитной деятельности, устраняющей барьеры для услуг в области ТБ, отстают от программ, связанных с ВИЧ, и остаются далеко не </a:t>
            </a:r>
            <a:r>
              <a:rPr lang="ru-RU" sz="2400" dirty="0" smtClean="0"/>
              <a:t>всеобъемлющими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Расширение </a:t>
            </a:r>
            <a:r>
              <a:rPr lang="ru-RU" sz="2400" dirty="0"/>
              <a:t>значимого вовлечения гражданского общества и затронутых сообществ в противодействие </a:t>
            </a:r>
            <a:r>
              <a:rPr lang="ru-RU" sz="2400" dirty="0" smtClean="0"/>
              <a:t>ТБ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Сохраняющаяся </a:t>
            </a:r>
            <a:r>
              <a:rPr lang="ru-RU" sz="2400" dirty="0"/>
              <a:t>сильная зависимость от внешнего финансирования критически важных элементов борьбы с ТБ, например, основной части препаратов второго ряда, большинства лабораторных тестов и даже основных медицинских расходных материалов</a:t>
            </a: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97707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69877"/>
            <a:ext cx="11473224" cy="566146"/>
          </a:xfrm>
        </p:spPr>
        <p:txBody>
          <a:bodyPr/>
          <a:lstStyle/>
          <a:p>
            <a:pPr algn="ctr"/>
            <a:r>
              <a:rPr lang="ru-RU" sz="3200" dirty="0" smtClean="0"/>
              <a:t>Портфолио-анализ (ВИЧ)</a:t>
            </a:r>
            <a:r>
              <a:rPr lang="ru-RU" sz="3200" dirty="0" smtClean="0"/>
              <a:t/>
            </a:r>
            <a:br>
              <a:rPr lang="ru-RU" sz="3200" dirty="0" smtClean="0"/>
            </a:b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5750" y="836023"/>
            <a:ext cx="11473225" cy="787370"/>
          </a:xfrm>
        </p:spPr>
        <p:txBody>
          <a:bodyPr>
            <a:no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200" dirty="0" smtClean="0"/>
              <a:t>Необходимо </a:t>
            </a:r>
            <a:r>
              <a:rPr lang="ru-RU" sz="2200" dirty="0"/>
              <a:t>сконцентрироваться на достижении </a:t>
            </a:r>
            <a:r>
              <a:rPr lang="ru-RU" sz="2200" dirty="0" smtClean="0"/>
              <a:t>95-95-95, </a:t>
            </a:r>
            <a:r>
              <a:rPr lang="ru-RU" sz="2200" dirty="0"/>
              <a:t>особенно первого (</a:t>
            </a:r>
            <a:r>
              <a:rPr lang="ru-RU" sz="2200" dirty="0" smtClean="0"/>
              <a:t>тестирование </a:t>
            </a:r>
            <a:r>
              <a:rPr lang="ru-RU" sz="2200" dirty="0"/>
              <a:t>сфокусированное на правильных </a:t>
            </a:r>
            <a:r>
              <a:rPr lang="ru-RU" sz="2200" dirty="0" smtClean="0"/>
              <a:t>КГН) </a:t>
            </a:r>
            <a:r>
              <a:rPr lang="ru-RU" sz="2200" dirty="0"/>
              <a:t>и </a:t>
            </a:r>
            <a:r>
              <a:rPr lang="ru-RU" sz="2200" dirty="0" smtClean="0"/>
              <a:t>второго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200" dirty="0" smtClean="0"/>
              <a:t>Провести </a:t>
            </a:r>
            <a:r>
              <a:rPr lang="ru-RU" sz="2200" dirty="0"/>
              <a:t>в течение первого года реализации гранта методологически обоснованную оценку размера </a:t>
            </a:r>
            <a:r>
              <a:rPr lang="ru-RU" sz="2200" dirty="0" smtClean="0"/>
              <a:t>КГН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200" dirty="0" smtClean="0"/>
              <a:t>Пересмотреть пакеты </a:t>
            </a:r>
            <a:r>
              <a:rPr lang="ru-RU" sz="2200" dirty="0"/>
              <a:t>услуг для </a:t>
            </a:r>
            <a:r>
              <a:rPr lang="ru-RU" sz="2200" dirty="0" smtClean="0"/>
              <a:t>КГН с </a:t>
            </a:r>
            <a:r>
              <a:rPr lang="ru-RU" sz="2200" dirty="0"/>
              <a:t>целью повышения эффективности и расширения охвата путем проведения адресных мероприятий, отдавая приоритет КГН с наиболее высоким эпидемиологическим бременем, особенно </a:t>
            </a:r>
            <a:r>
              <a:rPr lang="ru-RU" sz="2200" dirty="0" smtClean="0"/>
              <a:t>ЛУИН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200" dirty="0" smtClean="0"/>
              <a:t>Охват </a:t>
            </a:r>
            <a:r>
              <a:rPr lang="ru-RU" sz="2200" dirty="0"/>
              <a:t>ОЗТ низок, а уровень удержания </a:t>
            </a:r>
            <a:r>
              <a:rPr lang="ru-RU" sz="2200" dirty="0" err="1" smtClean="0"/>
              <a:t>неоптимален</a:t>
            </a:r>
            <a:endParaRPr lang="ru-RU" sz="22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200" dirty="0" smtClean="0"/>
              <a:t>Сосредоточить </a:t>
            </a:r>
            <a:r>
              <a:rPr lang="ru-RU" sz="2200" dirty="0"/>
              <a:t>деятельность, связанную с правами человека при ВИЧ и ТБ, на достижении четких результатов в соответствии с национальным планом действий по комплексному реагированию </a:t>
            </a:r>
            <a:endParaRPr lang="ru-RU" sz="22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200" dirty="0"/>
              <a:t>Рекомендовано </a:t>
            </a:r>
            <a:r>
              <a:rPr lang="ru-RU" sz="2200" dirty="0" smtClean="0"/>
              <a:t>усиление </a:t>
            </a:r>
            <a:r>
              <a:rPr lang="ru-RU" sz="2200" dirty="0"/>
              <a:t>роли НПО и </a:t>
            </a:r>
            <a:r>
              <a:rPr lang="ru-RU" sz="2200" dirty="0" smtClean="0"/>
              <a:t>сообществ </a:t>
            </a:r>
            <a:r>
              <a:rPr lang="ru-RU" sz="2200" dirty="0"/>
              <a:t>по обеспечению ухода, регистрации пациентов на АРТ и продвижению приверженности </a:t>
            </a:r>
            <a:r>
              <a:rPr lang="ru-RU" sz="2200" dirty="0" smtClean="0"/>
              <a:t>пациентов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200" dirty="0"/>
              <a:t>Рекомендовано в рамках нового гранта запланировать мероприятия с особым акцентом на развитие потенциала первичной медико-санитарной помощи</a:t>
            </a:r>
            <a:endParaRPr lang="ru-RU" sz="22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61975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57051"/>
            <a:ext cx="11473224" cy="661852"/>
          </a:xfrm>
        </p:spPr>
        <p:txBody>
          <a:bodyPr/>
          <a:lstStyle/>
          <a:p>
            <a:pPr algn="ctr"/>
            <a:r>
              <a:rPr lang="ru-RU" sz="3200" dirty="0" smtClean="0">
                <a:solidFill>
                  <a:srgbClr val="FF0000"/>
                </a:solidFill>
              </a:rPr>
              <a:t>Риски, связанные с дискуссиями</a:t>
            </a:r>
            <a:r>
              <a:rPr lang="ru-RU" sz="3200" dirty="0" smtClean="0">
                <a:solidFill>
                  <a:srgbClr val="FF0000"/>
                </a:solidFill>
              </a:rPr>
              <a:t> </a:t>
            </a: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00298" y="844731"/>
            <a:ext cx="11537386" cy="1169550"/>
          </a:xfrm>
        </p:spPr>
        <p:txBody>
          <a:bodyPr>
            <a:no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Не выполнение требований 1-2 к СКК приведет к отклонению заявки без рассмотрения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одготовка заявки с использованием данных, не имеющих доказательств либо не соответствующих рекомендациям портфолио-анализа, приведет к: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ru-RU" sz="2400" dirty="0" smtClean="0">
                <a:solidFill>
                  <a:srgbClr val="FF0000"/>
                </a:solidFill>
              </a:rPr>
              <a:t>отклонению заявки </a:t>
            </a:r>
            <a:r>
              <a:rPr lang="ru-RU" sz="2400" dirty="0" smtClean="0"/>
              <a:t>и страна сможет подать заявку только в 3-е окно (октябрь 2023) и в этом случае (с учетом рассмотрения, переговоров по гранту и т.д.) грант начнется только в 2025 году (на 2024 год вероятно будут предоставлены лекарства, тесты и самое критически важное, но многие активности будут сокращены).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ru-RU" sz="2400" dirty="0"/>
              <a:t>з</a:t>
            </a:r>
            <a:r>
              <a:rPr lang="ru-RU" sz="2400" dirty="0" smtClean="0"/>
              <a:t>начительному количеству комментариев от </a:t>
            </a:r>
            <a:r>
              <a:rPr lang="en-US" sz="2400" dirty="0" smtClean="0"/>
              <a:t>TRP </a:t>
            </a:r>
            <a:r>
              <a:rPr lang="ru-RU" sz="2400" dirty="0" smtClean="0"/>
              <a:t>(если содержание заявки не критично отклоняется от рекомендаций) и необходимости привести в соответствие с рекомендациями.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ru-RU" sz="2400" dirty="0" smtClean="0"/>
              <a:t>Неодобрение заявки на Комитете может </a:t>
            </a:r>
            <a:r>
              <a:rPr lang="ru-RU" sz="2400" dirty="0" smtClean="0">
                <a:solidFill>
                  <a:srgbClr val="FF0000"/>
                </a:solidFill>
              </a:rPr>
              <a:t>привести к подаче во 2-е окно </a:t>
            </a:r>
            <a:r>
              <a:rPr lang="ru-RU" sz="2400" dirty="0" smtClean="0"/>
              <a:t>(май) и </a:t>
            </a:r>
            <a:r>
              <a:rPr lang="ru-RU" sz="2400" dirty="0" smtClean="0">
                <a:solidFill>
                  <a:srgbClr val="FF0000"/>
                </a:solidFill>
              </a:rPr>
              <a:t>задержке начала нового гранта на 6 месяцев </a:t>
            </a:r>
            <a:r>
              <a:rPr lang="ru-RU" sz="2400" dirty="0" smtClean="0"/>
              <a:t>(с вышеуказанными последствиями).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ru-RU" sz="2400" dirty="0" smtClean="0"/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ru-RU" sz="24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85206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57051"/>
            <a:ext cx="11473224" cy="661852"/>
          </a:xfrm>
        </p:spPr>
        <p:txBody>
          <a:bodyPr/>
          <a:lstStyle/>
          <a:p>
            <a:pPr algn="ctr"/>
            <a:r>
              <a:rPr lang="ru-RU" sz="3200" dirty="0" smtClean="0">
                <a:solidFill>
                  <a:srgbClr val="FF0000"/>
                </a:solidFill>
              </a:rPr>
              <a:t>По поступившим комментариям</a:t>
            </a: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00298" y="844731"/>
            <a:ext cx="11537386" cy="1169550"/>
          </a:xfrm>
        </p:spPr>
        <p:txBody>
          <a:bodyPr>
            <a:no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400" dirty="0" smtClean="0"/>
              <a:t>USAUD </a:t>
            </a:r>
            <a:r>
              <a:rPr lang="ru-RU" sz="2400" dirty="0" smtClean="0"/>
              <a:t>(компонент ВИЧ) направил ряд комментариев, которые будут учтены и включены в заявку. Но отдельные рекомендации нуждаются в обсуждении и синхронизации действий. Необходимо получить информацию об активностях </a:t>
            </a:r>
            <a:r>
              <a:rPr lang="en-US" sz="2400" dirty="0" smtClean="0"/>
              <a:t>PEPFAR </a:t>
            </a:r>
            <a:r>
              <a:rPr lang="ru-RU" sz="2400" dirty="0" smtClean="0"/>
              <a:t>на последующие периоды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ВОЗ направил свои запросы для включения в заявку. Их целесообразность и необходимость должна быть обсуждена на Комитете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На заседании сектора по заявкам поступил ряд рекомендаций (доплаты лицам с ТБ, </a:t>
            </a:r>
            <a:r>
              <a:rPr lang="ru-RU" sz="2400" dirty="0" err="1" smtClean="0"/>
              <a:t>мед.специалистам</a:t>
            </a:r>
            <a:r>
              <a:rPr lang="ru-RU" sz="2400" dirty="0" smtClean="0"/>
              <a:t>) они были учтены в бюджете заявки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о вопросам численности СР, ЛУИН и МСМ вносятся изменения в текст заявки и будут предусмотрены некоторые средства для их реализации совместно с </a:t>
            </a:r>
            <a:r>
              <a:rPr lang="en-US" sz="2400" dirty="0" smtClean="0"/>
              <a:t>CDC </a:t>
            </a:r>
            <a:r>
              <a:rPr lang="ru-RU" sz="2400" dirty="0" smtClean="0"/>
              <a:t>(но не в том объеме о которых шли обсуждения)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Средства на кризисный центр для женщин на юге найдены из других источников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Заработные платы в НПО (где просмотрели) унифицированы.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ru-RU" sz="24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19731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57051"/>
            <a:ext cx="11473224" cy="661852"/>
          </a:xfrm>
        </p:spPr>
        <p:txBody>
          <a:bodyPr/>
          <a:lstStyle/>
          <a:p>
            <a:pPr algn="ctr"/>
            <a:r>
              <a:rPr lang="ru-RU" sz="3200" dirty="0" smtClean="0">
                <a:solidFill>
                  <a:srgbClr val="FF0000"/>
                </a:solidFill>
              </a:rPr>
              <a:t>Дальнейшие шаги (</a:t>
            </a:r>
            <a:r>
              <a:rPr lang="ru-RU" sz="3200" dirty="0" err="1" smtClean="0">
                <a:solidFill>
                  <a:srgbClr val="FF0000"/>
                </a:solidFill>
              </a:rPr>
              <a:t>дедлайн</a:t>
            </a:r>
            <a:r>
              <a:rPr lang="ru-RU" sz="3200" dirty="0" smtClean="0">
                <a:solidFill>
                  <a:srgbClr val="FF0000"/>
                </a:solidFill>
              </a:rPr>
              <a:t> 17-го марта пятница)</a:t>
            </a: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00298" y="844731"/>
            <a:ext cx="11537386" cy="1169550"/>
          </a:xfrm>
        </p:spPr>
        <p:txBody>
          <a:bodyPr>
            <a:no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ересмотреть описательную часть заявки, бюджет и индикаторы с учетом поступающих комментариев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Направить документы на перевод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олучить от МФ КР обязательства по софинансированию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ровести финальную встречу с сообществами для фиксирования 20-ти приоритетов сообществ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Заполнить формы странового диалога, документы по СКК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Заполнить программные пробелы, финансовые пробелы на основании полученных данных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Сверить финальный бюджет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Подготовить пакет приложений, сопроводительных документов, перечень сокращений </a:t>
            </a:r>
            <a:r>
              <a:rPr lang="ru-RU" sz="2400" smtClean="0"/>
              <a:t>и аббревиатуры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2400" dirty="0" smtClean="0"/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7267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601" y="101601"/>
            <a:ext cx="11403012" cy="51723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dirty="0" smtClean="0"/>
              <a:t>Содержание заявки </a:t>
            </a:r>
            <a:endParaRPr lang="ru-RU" sz="32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1601" y="729673"/>
            <a:ext cx="11729155" cy="5795305"/>
          </a:xfrm>
        </p:spPr>
        <p:txBody>
          <a:bodyPr>
            <a:normAutofit/>
          </a:bodyPr>
          <a:lstStyle/>
          <a:p>
            <a:pPr algn="just"/>
            <a:endParaRPr lang="ru-RU" sz="2200" dirty="0" smtClean="0"/>
          </a:p>
          <a:p>
            <a:pPr algn="just"/>
            <a:endParaRPr lang="ru-RU" sz="2200" dirty="0" smtClean="0"/>
          </a:p>
          <a:p>
            <a:pPr algn="just"/>
            <a:endParaRPr lang="ru-RU" sz="22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132807"/>
              </p:ext>
            </p:extLst>
          </p:nvPr>
        </p:nvGraphicFramePr>
        <p:xfrm>
          <a:off x="101601" y="618841"/>
          <a:ext cx="11850253" cy="637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8427">
                  <a:extLst>
                    <a:ext uri="{9D8B030D-6E8A-4147-A177-3AD203B41FA5}">
                      <a16:colId xmlns:a16="http://schemas.microsoft.com/office/drawing/2014/main" val="1091916532"/>
                    </a:ext>
                  </a:extLst>
                </a:gridCol>
                <a:gridCol w="8871136">
                  <a:extLst>
                    <a:ext uri="{9D8B030D-6E8A-4147-A177-3AD203B41FA5}">
                      <a16:colId xmlns:a16="http://schemas.microsoft.com/office/drawing/2014/main" val="365821255"/>
                    </a:ext>
                  </a:extLst>
                </a:gridCol>
                <a:gridCol w="2410690">
                  <a:extLst>
                    <a:ext uri="{9D8B030D-6E8A-4147-A177-3AD203B41FA5}">
                      <a16:colId xmlns:a16="http://schemas.microsoft.com/office/drawing/2014/main" val="234634597"/>
                    </a:ext>
                  </a:extLst>
                </a:gridCol>
              </a:tblGrid>
              <a:tr h="358229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№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Модуль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(13)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Объем средств</a:t>
                      </a:r>
                      <a:r>
                        <a:rPr lang="en-US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$)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9962208"/>
                  </a:ext>
                </a:extLst>
              </a:tr>
              <a:tr h="567196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RSSH: Планирование и управление сектором здравоохранения для интегрированных услуг, ориентированных на людей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12</a:t>
                      </a:r>
                      <a:r>
                        <a:rPr lang="en-US" sz="1600" dirty="0" smtClean="0"/>
                        <a:t> </a:t>
                      </a:r>
                      <a:r>
                        <a:rPr lang="ru-RU" sz="1600" dirty="0" smtClean="0"/>
                        <a:t>200</a:t>
                      </a:r>
                    </a:p>
                    <a:p>
                      <a:pPr algn="ctr"/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0371011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SSH: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крепление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истем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обществ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26</a:t>
                      </a:r>
                      <a:r>
                        <a:rPr lang="en-US" sz="1600" dirty="0" smtClean="0"/>
                        <a:t> </a:t>
                      </a:r>
                      <a:r>
                        <a:rPr lang="ru-RU" sz="1600" dirty="0" smtClean="0"/>
                        <a:t>2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057781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Управление программой (включая ПРООН- 2,7 млн.</a:t>
                      </a:r>
                      <a:r>
                        <a:rPr lang="en-US" sz="1600" dirty="0" smtClean="0"/>
                        <a:t>$</a:t>
                      </a:r>
                      <a:r>
                        <a:rPr lang="ru-RU" sz="1600" dirty="0" smtClean="0"/>
                        <a:t>, ЦРЗ</a:t>
                      </a:r>
                      <a:r>
                        <a:rPr lang="en-US" sz="1600" dirty="0" smtClean="0"/>
                        <a:t> – 187 </a:t>
                      </a:r>
                      <a:r>
                        <a:rPr lang="ru-RU" sz="1600" dirty="0" smtClean="0"/>
                        <a:t>тыс.</a:t>
                      </a:r>
                      <a:r>
                        <a:rPr lang="en-US" sz="1600" dirty="0" smtClean="0"/>
                        <a:t>$</a:t>
                      </a:r>
                      <a:r>
                        <a:rPr lang="ru-RU" sz="1600" dirty="0" smtClean="0"/>
                        <a:t>, 7%</a:t>
                      </a:r>
                      <a:r>
                        <a:rPr lang="en-US" sz="1600" dirty="0" smtClean="0"/>
                        <a:t> - 1,6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ru-RU" sz="1600" baseline="0" dirty="0" smtClean="0"/>
                        <a:t>млн.</a:t>
                      </a:r>
                      <a:r>
                        <a:rPr lang="en-US" sz="1600" baseline="0" dirty="0" smtClean="0"/>
                        <a:t>$</a:t>
                      </a:r>
                      <a:r>
                        <a:rPr lang="ru-RU" sz="1600" dirty="0" smtClean="0"/>
                        <a:t>)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4 500 000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742675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Пакет профилактических мер для мужчин, практикующих секс с мужчинами (МСМ)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884 134,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740806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Пакет профилактических мер для СР, их клиентов и других сексуальных партнеров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607</a:t>
                      </a:r>
                      <a:r>
                        <a:rPr lang="en-US" sz="1600" dirty="0" smtClean="0"/>
                        <a:t> </a:t>
                      </a:r>
                      <a:r>
                        <a:rPr lang="ru-RU" sz="1600" dirty="0" smtClean="0"/>
                        <a:t>340,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150403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Пакет профилактических мер для трансгендеров и их сексуальных партнеров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39 021,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3560600"/>
                  </a:ext>
                </a:extLst>
              </a:tr>
              <a:tr h="567196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Пакет профилактики для людей, употребляющих наркотики и их половых партнеров,</a:t>
                      </a:r>
                      <a:r>
                        <a:rPr lang="ru-RU" sz="1600" baseline="0" dirty="0" smtClean="0"/>
                        <a:t> включая РЦПН (ПТАО и ПОШ)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 179 857</a:t>
                      </a:r>
                    </a:p>
                    <a:p>
                      <a:pPr algn="ctr"/>
                      <a:r>
                        <a:rPr lang="ru-RU" sz="1600" dirty="0" smtClean="0"/>
                        <a:t>1 238 388</a:t>
                      </a:r>
                      <a:r>
                        <a:rPr lang="ru-RU" sz="1600" baseline="0" dirty="0" smtClean="0"/>
                        <a:t> (РЦПН)</a:t>
                      </a:r>
                      <a:endParaRPr lang="ru-RU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506199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Пакет профилактических мер для лиц, находящихся в тюрьмах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31 211,5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6352611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Дифференцированное тестирование на ВИЧ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308 61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0337386"/>
                  </a:ext>
                </a:extLst>
              </a:tr>
              <a:tr h="567196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Лечение, уход и поддержка при ВИЧ</a:t>
                      </a:r>
                      <a:r>
                        <a:rPr lang="en-US" sz="1600" dirty="0" smtClean="0"/>
                        <a:t> 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3 563 817,24</a:t>
                      </a:r>
                      <a:r>
                        <a:rPr lang="ru-RU" sz="1600" baseline="0" dirty="0" smtClean="0"/>
                        <a:t> – РЦС</a:t>
                      </a:r>
                    </a:p>
                    <a:p>
                      <a:pPr algn="ctr"/>
                      <a:r>
                        <a:rPr lang="ru-RU" sz="1600" dirty="0" smtClean="0"/>
                        <a:t>1 529 083,59</a:t>
                      </a:r>
                      <a:r>
                        <a:rPr lang="ru-RU" sz="1600" baseline="0" dirty="0" smtClean="0"/>
                        <a:t> - Уход</a:t>
                      </a:r>
                      <a:endParaRPr lang="ru-RU" sz="16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681049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ТБ/ВИЧ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1454120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12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нижение барьеров на пути к ВИЧ/ТБ, связанных с правами человека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1 500 000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1414558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Лекарственно-устойчивый (ЛУ)-ТБ: Диагностика, лечение и уход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 620 26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9272466"/>
                  </a:ext>
                </a:extLst>
              </a:tr>
              <a:tr h="328377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ИМН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639 8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4477591"/>
                  </a:ext>
                </a:extLst>
              </a:tr>
              <a:tr h="567196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SM</a:t>
                      </a:r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757</a:t>
                      </a:r>
                      <a:r>
                        <a:rPr lang="en-US" sz="1600" dirty="0" smtClean="0"/>
                        <a:t> </a:t>
                      </a:r>
                      <a:r>
                        <a:rPr lang="ru-RU" sz="1600" dirty="0" smtClean="0"/>
                        <a:t>900</a:t>
                      </a:r>
                    </a:p>
                    <a:p>
                      <a:pPr algn="ctr"/>
                      <a:endParaRPr lang="ru-RU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609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06836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Object 1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13" name="Object 1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7" name="Straight Connector 156"/>
          <p:cNvCxnSpPr/>
          <p:nvPr/>
        </p:nvCxnSpPr>
        <p:spPr>
          <a:xfrm flipH="1">
            <a:off x="9240986" y="3211379"/>
            <a:ext cx="4129" cy="269303"/>
          </a:xfrm>
          <a:prstGeom prst="line">
            <a:avLst/>
          </a:prstGeom>
          <a:ln w="9525" cap="rnd">
            <a:solidFill>
              <a:srgbClr val="0055A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/>
        </p:nvCxnSpPr>
        <p:spPr>
          <a:xfrm flipH="1">
            <a:off x="3396034" y="3216949"/>
            <a:ext cx="4129" cy="269303"/>
          </a:xfrm>
          <a:prstGeom prst="line">
            <a:avLst/>
          </a:prstGeom>
          <a:ln w="9525" cap="rnd">
            <a:solidFill>
              <a:srgbClr val="0055A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6385027" y="2503236"/>
            <a:ext cx="5730240" cy="780288"/>
          </a:xfrm>
          <a:prstGeom prst="rect">
            <a:avLst/>
          </a:prstGeom>
          <a:solidFill>
            <a:srgbClr val="BFD4EA"/>
          </a:solidFill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ru-RU" sz="1400" b="1" spc="-13" dirty="0">
                <a:solidFill>
                  <a:schemeClr val="tx1"/>
                </a:solidFill>
              </a:rPr>
              <a:t>Усовершенствовать систему направления на лечение и быстро повысить показатели успешности лечения туберкулеза</a:t>
            </a:r>
            <a:r>
              <a:rPr lang="ru-RU" sz="1400" b="1" dirty="0">
                <a:solidFill>
                  <a:schemeClr val="tx1"/>
                </a:solidFill>
              </a:rPr>
              <a:t> с особым вниманием на РУ/МЛУ-ТБ</a:t>
            </a:r>
          </a:p>
        </p:txBody>
      </p:sp>
      <p:sp>
        <p:nvSpPr>
          <p:cNvPr id="82" name="Rectangle 81"/>
          <p:cNvSpPr/>
          <p:nvPr/>
        </p:nvSpPr>
        <p:spPr>
          <a:xfrm>
            <a:off x="530825" y="2511788"/>
            <a:ext cx="5730240" cy="780288"/>
          </a:xfrm>
          <a:prstGeom prst="rect">
            <a:avLst/>
          </a:prstGeom>
          <a:solidFill>
            <a:srgbClr val="BFD4EA"/>
          </a:solidFill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ru-RU" sz="1400" b="1" dirty="0">
                <a:solidFill>
                  <a:schemeClr val="tx1"/>
                </a:solidFill>
              </a:rPr>
              <a:t>Расширить доступ к своевременной и качественной диагностике туберкулеза с особым вниманием на РУ/МЛУ-ТБ </a:t>
            </a:r>
          </a:p>
        </p:txBody>
      </p:sp>
      <p:sp>
        <p:nvSpPr>
          <p:cNvPr id="83" name="Rectangle 82"/>
          <p:cNvSpPr/>
          <p:nvPr/>
        </p:nvSpPr>
        <p:spPr>
          <a:xfrm>
            <a:off x="55074" y="3410586"/>
            <a:ext cx="378500" cy="1960175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 rtl="0"/>
            <a:r>
              <a:rPr lang="ru-RU" sz="1067" b="1" dirty="0"/>
              <a:t>Приоритетные мероприятия</a:t>
            </a:r>
          </a:p>
        </p:txBody>
      </p:sp>
      <p:sp>
        <p:nvSpPr>
          <p:cNvPr id="86" name="Rectangle 85"/>
          <p:cNvSpPr/>
          <p:nvPr/>
        </p:nvSpPr>
        <p:spPr>
          <a:xfrm>
            <a:off x="56755" y="2471038"/>
            <a:ext cx="384867" cy="830367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 rtl="0"/>
            <a:r>
              <a:rPr lang="ru-RU" sz="933" b="1" dirty="0" err="1"/>
              <a:t>Стратегич</a:t>
            </a:r>
            <a:r>
              <a:rPr lang="ru-RU" sz="933" b="1" dirty="0"/>
              <a:t>. приоритеты</a:t>
            </a:r>
          </a:p>
        </p:txBody>
      </p:sp>
      <p:sp>
        <p:nvSpPr>
          <p:cNvPr id="89" name="Rectangle 88"/>
          <p:cNvSpPr/>
          <p:nvPr/>
        </p:nvSpPr>
        <p:spPr>
          <a:xfrm>
            <a:off x="522465" y="3887409"/>
            <a:ext cx="1828800" cy="1137815"/>
          </a:xfrm>
          <a:prstGeom prst="rect">
            <a:avLst/>
          </a:prstGeom>
          <a:solidFill>
            <a:schemeClr val="bg1"/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933">
                <a:solidFill>
                  <a:srgbClr val="575757"/>
                </a:solidFill>
              </a:rPr>
              <a:t>Поддержать дальнейшее внедрение быстрых молекулярных тестов в соответствии с международными рекомендациями</a:t>
            </a:r>
          </a:p>
        </p:txBody>
      </p:sp>
      <p:sp>
        <p:nvSpPr>
          <p:cNvPr id="90" name="Rectangle 89"/>
          <p:cNvSpPr/>
          <p:nvPr/>
        </p:nvSpPr>
        <p:spPr>
          <a:xfrm>
            <a:off x="8305267" y="3881767"/>
            <a:ext cx="1889760" cy="551021"/>
          </a:xfrm>
          <a:prstGeom prst="rect">
            <a:avLst/>
          </a:prstGeom>
          <a:solidFill>
            <a:schemeClr val="bg1"/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sz="933" dirty="0">
              <a:solidFill>
                <a:srgbClr val="575757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6363173" y="3887408"/>
            <a:ext cx="1889760" cy="553728"/>
          </a:xfrm>
          <a:prstGeom prst="rect">
            <a:avLst/>
          </a:prstGeom>
          <a:solidFill>
            <a:schemeClr val="bg1"/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800"/>
              </a:lnSpc>
            </a:pPr>
            <a:r>
              <a:rPr lang="ru-RU" sz="800" dirty="0">
                <a:solidFill>
                  <a:srgbClr val="575757"/>
                </a:solidFill>
              </a:rPr>
              <a:t>Расширить доступ к качественным противотуберкулезным препаратам первой и второй линий, включая новые и перепрофилированные лекарства</a:t>
            </a:r>
            <a:endParaRPr lang="ru-RU" sz="800" b="1" dirty="0">
              <a:solidFill>
                <a:srgbClr val="575757"/>
              </a:solidFill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10235816" y="3887349"/>
            <a:ext cx="1889760" cy="829699"/>
          </a:xfrm>
          <a:prstGeom prst="rect">
            <a:avLst/>
          </a:prstGeom>
          <a:solidFill>
            <a:schemeClr val="bg1"/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sz="933" dirty="0">
              <a:solidFill>
                <a:srgbClr val="575757"/>
              </a:solidFill>
            </a:endParaRPr>
          </a:p>
        </p:txBody>
      </p:sp>
      <p:sp>
        <p:nvSpPr>
          <p:cNvPr id="95" name="Rectangle 94"/>
          <p:cNvSpPr/>
          <p:nvPr/>
        </p:nvSpPr>
        <p:spPr>
          <a:xfrm>
            <a:off x="2459745" y="3848861"/>
            <a:ext cx="1828800" cy="1153535"/>
          </a:xfrm>
          <a:prstGeom prst="rect">
            <a:avLst/>
          </a:prstGeom>
          <a:solidFill>
            <a:schemeClr val="bg1"/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933"/>
              </a:lnSpc>
            </a:pPr>
            <a:r>
              <a:rPr lang="ru-RU" sz="933" dirty="0">
                <a:solidFill>
                  <a:srgbClr val="575757"/>
                </a:solidFill>
              </a:rPr>
              <a:t>Поддержать меры по укреплению лабораторий на основе надежных общенациональных оценок лабораторий и стратегий с особым вниманием на получение профилей  резистентности во всем регионе </a:t>
            </a:r>
          </a:p>
        </p:txBody>
      </p:sp>
      <p:sp>
        <p:nvSpPr>
          <p:cNvPr id="96" name="Rectangle 95"/>
          <p:cNvSpPr/>
          <p:nvPr/>
        </p:nvSpPr>
        <p:spPr>
          <a:xfrm>
            <a:off x="6372469" y="4495192"/>
            <a:ext cx="1889760" cy="546043"/>
          </a:xfrm>
          <a:prstGeom prst="rect">
            <a:avLst/>
          </a:prstGeom>
          <a:solidFill>
            <a:schemeClr val="bg1"/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sz="933" b="1" dirty="0">
              <a:solidFill>
                <a:srgbClr val="575757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0238070" y="4764421"/>
            <a:ext cx="1885253" cy="627668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933" dirty="0">
              <a:solidFill>
                <a:srgbClr val="575757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522341" y="3409880"/>
            <a:ext cx="1828800" cy="426720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ru-RU" sz="933">
                <a:solidFill>
                  <a:srgbClr val="575757"/>
                </a:solidFill>
              </a:rPr>
              <a:t>Усовершенствовать методы быстрой диагностики 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2474055" y="3419775"/>
            <a:ext cx="1831935" cy="426720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ru-RU" sz="933" dirty="0">
                <a:solidFill>
                  <a:srgbClr val="575757"/>
                </a:solidFill>
              </a:rPr>
              <a:t>Оценить и укрепить лабораторный потенциал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4350616" y="3363612"/>
            <a:ext cx="1964100" cy="548999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533"/>
              </a:lnSpc>
            </a:pPr>
            <a:r>
              <a:rPr lang="ru-RU" sz="800" dirty="0" smtClean="0">
                <a:solidFill>
                  <a:srgbClr val="575757"/>
                </a:solidFill>
              </a:rPr>
              <a:t>Активизировать усилия по выявлению и включению групп населения, подверженных высокому риску, в систему лечения и профилактической терапии</a:t>
            </a:r>
            <a:endParaRPr lang="ru-RU" sz="800" dirty="0">
              <a:solidFill>
                <a:srgbClr val="575757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6370883" y="3411719"/>
            <a:ext cx="1889760" cy="426720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800"/>
              </a:lnSpc>
            </a:pPr>
            <a:r>
              <a:rPr lang="ru-RU" sz="800" dirty="0">
                <a:solidFill>
                  <a:srgbClr val="575757"/>
                </a:solidFill>
              </a:rPr>
              <a:t>Обеспечить непрерывное снабжение противотуберкулезными препаратами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10243770" y="3405337"/>
            <a:ext cx="1871447" cy="426720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ru-RU" sz="800" dirty="0">
                <a:solidFill>
                  <a:srgbClr val="575757"/>
                </a:solidFill>
              </a:rPr>
              <a:t>Укрепить приверженность лечению, особенно среди пациентов с РУ/МЛУ-ТБ</a:t>
            </a:r>
          </a:p>
        </p:txBody>
      </p:sp>
      <p:sp>
        <p:nvSpPr>
          <p:cNvPr id="104" name="Rectangle 103"/>
          <p:cNvSpPr/>
          <p:nvPr/>
        </p:nvSpPr>
        <p:spPr>
          <a:xfrm>
            <a:off x="8305268" y="3416691"/>
            <a:ext cx="1889760" cy="426720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667"/>
              </a:lnSpc>
            </a:pPr>
            <a:r>
              <a:rPr lang="ru-RU" sz="800" dirty="0">
                <a:solidFill>
                  <a:srgbClr val="575757"/>
                </a:solidFill>
              </a:rPr>
              <a:t>Укрепить потенциал в области клинического лечения туберкулеза с особым вниманием на РУ/МЛУ-ТБ</a:t>
            </a:r>
          </a:p>
        </p:txBody>
      </p:sp>
      <p:cxnSp>
        <p:nvCxnSpPr>
          <p:cNvPr id="110" name="Straight Connector 109"/>
          <p:cNvCxnSpPr>
            <a:stCxn id="81" idx="2"/>
          </p:cNvCxnSpPr>
          <p:nvPr/>
        </p:nvCxnSpPr>
        <p:spPr>
          <a:xfrm>
            <a:off x="9250147" y="3283525"/>
            <a:ext cx="4228" cy="13601"/>
          </a:xfrm>
          <a:prstGeom prst="line">
            <a:avLst/>
          </a:prstGeom>
          <a:ln w="6350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Elbow Connector 121"/>
          <p:cNvCxnSpPr>
            <a:cxnSpLocks/>
            <a:endCxn id="81" idx="0"/>
          </p:cNvCxnSpPr>
          <p:nvPr/>
        </p:nvCxnSpPr>
        <p:spPr>
          <a:xfrm flipV="1">
            <a:off x="3404538" y="2503236"/>
            <a:ext cx="5845609" cy="12947"/>
          </a:xfrm>
          <a:prstGeom prst="bentConnector4">
            <a:avLst>
              <a:gd name="adj1" fmla="val 25493"/>
              <a:gd name="adj2" fmla="val 2454274"/>
            </a:avLst>
          </a:prstGeom>
          <a:ln w="9525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Elbow Connector 122"/>
          <p:cNvCxnSpPr/>
          <p:nvPr/>
        </p:nvCxnSpPr>
        <p:spPr>
          <a:xfrm rot="5400000" flipH="1" flipV="1">
            <a:off x="6339721" y="-1564667"/>
            <a:ext cx="3569" cy="7642304"/>
          </a:xfrm>
          <a:prstGeom prst="bentConnector3">
            <a:avLst>
              <a:gd name="adj1" fmla="val -4981322"/>
            </a:avLst>
          </a:prstGeom>
          <a:ln w="9525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/>
        </p:nvCxnSpPr>
        <p:spPr>
          <a:xfrm>
            <a:off x="6319055" y="2271920"/>
            <a:ext cx="0" cy="166481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 txBox="1">
            <a:spLocks/>
          </p:cNvSpPr>
          <p:nvPr/>
        </p:nvSpPr>
        <p:spPr>
          <a:xfrm>
            <a:off x="0" y="-17585"/>
            <a:ext cx="12192000" cy="477805"/>
          </a:xfrm>
          <a:prstGeom prst="rect">
            <a:avLst/>
          </a:prstGeom>
          <a:solidFill>
            <a:srgbClr val="25B17F"/>
          </a:solidFill>
        </p:spPr>
        <p:txBody>
          <a:bodyPr vert="horz" wrap="square" lIns="0" tIns="72000" rIns="0" bIns="72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l" rtl="0"/>
            <a:r>
              <a:rPr lang="ru-RU" b="1" dirty="0">
                <a:solidFill>
                  <a:prstClr val="white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Региональные приоритеты для ВЕЦА – Туберкулез</a:t>
            </a:r>
          </a:p>
        </p:txBody>
      </p:sp>
      <p:sp>
        <p:nvSpPr>
          <p:cNvPr id="49" name="Content Placeholder 2"/>
          <p:cNvSpPr txBox="1">
            <a:spLocks/>
          </p:cNvSpPr>
          <p:nvPr/>
        </p:nvSpPr>
        <p:spPr>
          <a:xfrm>
            <a:off x="63500" y="501340"/>
            <a:ext cx="12070080" cy="365760"/>
          </a:xfrm>
          <a:prstGeom prst="rect">
            <a:avLst/>
          </a:prstGeom>
          <a:solidFill>
            <a:srgbClr val="0055AA"/>
          </a:solidFill>
        </p:spPr>
        <p:txBody>
          <a:bodyPr vert="horz" lIns="0" tIns="0" rIns="0" bIns="60960" rtlCol="0" anchor="ctr">
            <a:normAutofit/>
          </a:bodyPr>
          <a:lstStyle>
            <a:lvl1pPr marL="0" indent="0" algn="l" defTabSz="457200" rtl="0" eaLnBrk="1" latinLnBrk="0" hangingPunct="1">
              <a:lnSpc>
                <a:spcPts val="1900"/>
              </a:lnSpc>
              <a:spcBef>
                <a:spcPts val="0"/>
              </a:spcBef>
              <a:buFontTx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457200" rtl="0" eaLnBrk="1" latinLnBrk="0" hangingPunct="1">
              <a:lnSpc>
                <a:spcPts val="19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+mn-cs"/>
              </a:defRPr>
            </a:lvl2pPr>
            <a:lvl3pPr marL="0" indent="0" algn="l" defTabSz="457200" rtl="0" eaLnBrk="1" latinLnBrk="0" hangingPunct="1">
              <a:lnSpc>
                <a:spcPts val="1700"/>
              </a:lnSpc>
              <a:spcBef>
                <a:spcPts val="0"/>
              </a:spcBef>
              <a:buFontTx/>
              <a:buNone/>
              <a:defRPr sz="1600" kern="120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262800" indent="-136800" algn="l" defTabSz="457200" rtl="0" eaLnBrk="1" latinLnBrk="0" hangingPunct="1">
              <a:spcBef>
                <a:spcPts val="0"/>
              </a:spcBef>
              <a:buFont typeface="Lucida Grande"/>
              <a:buChar char="&gt;"/>
              <a:defRPr sz="16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+mn-cs"/>
              </a:defRPr>
            </a:lvl4pPr>
            <a:lvl5pPr marL="457200" indent="-136800" algn="l" defTabSz="457200" rtl="0" eaLnBrk="1" latinLnBrk="0" hangingPunct="1">
              <a:lnSpc>
                <a:spcPts val="1400"/>
              </a:lnSpc>
              <a:spcBef>
                <a:spcPts val="0"/>
              </a:spcBef>
              <a:buFont typeface="Arial"/>
              <a:buChar char="–"/>
              <a:defRPr sz="12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 rtl="0"/>
            <a:r>
              <a:rPr lang="ru-RU" sz="2000" b="1" dirty="0">
                <a:solidFill>
                  <a:schemeClr val="bg1"/>
                </a:solidFill>
              </a:rPr>
              <a:t>Стратегические приоритеты для региона ВЕЦА – Туберкулез (2020–2022 гг.)</a:t>
            </a:r>
          </a:p>
        </p:txBody>
      </p:sp>
      <p:sp>
        <p:nvSpPr>
          <p:cNvPr id="51" name="Rectangle 50"/>
          <p:cNvSpPr/>
          <p:nvPr/>
        </p:nvSpPr>
        <p:spPr>
          <a:xfrm>
            <a:off x="528520" y="6103588"/>
            <a:ext cx="11594592" cy="280416"/>
          </a:xfrm>
          <a:prstGeom prst="rect">
            <a:avLst/>
          </a:prstGeom>
          <a:solidFill>
            <a:schemeClr val="bg1"/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ru-RU" sz="1067" dirty="0">
                <a:solidFill>
                  <a:srgbClr val="575757"/>
                </a:solidFill>
                <a:highlight>
                  <a:srgbClr val="FFFF00"/>
                </a:highlight>
              </a:rPr>
              <a:t>Способствовать вовлечению гражданского общества, сообществ</a:t>
            </a:r>
            <a:r>
              <a:rPr lang="ru-RU" sz="1067" dirty="0">
                <a:solidFill>
                  <a:srgbClr val="575757"/>
                </a:solidFill>
              </a:rPr>
              <a:t>, частного сектора и других поставщиков услуг в борьбу с туберкулезом 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22343" y="5801357"/>
            <a:ext cx="11594592" cy="280416"/>
          </a:xfrm>
          <a:prstGeom prst="rect">
            <a:avLst/>
          </a:prstGeom>
          <a:solidFill>
            <a:schemeClr val="bg1"/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/>
            <a:r>
              <a:rPr lang="ru-RU" sz="1067" dirty="0">
                <a:solidFill>
                  <a:srgbClr val="575757"/>
                </a:solidFill>
              </a:rPr>
              <a:t>Поощрять и стимулировать государственное финансирование и принятие ответственности за финансирование мероприятий, поддерживаемых Глобальным фондом</a:t>
            </a:r>
          </a:p>
        </p:txBody>
      </p:sp>
      <p:sp>
        <p:nvSpPr>
          <p:cNvPr id="53" name="Rectangle 52"/>
          <p:cNvSpPr/>
          <p:nvPr/>
        </p:nvSpPr>
        <p:spPr>
          <a:xfrm>
            <a:off x="68889" y="5490942"/>
            <a:ext cx="378500" cy="1225295"/>
          </a:xfrm>
          <a:prstGeom prst="rect">
            <a:avLst/>
          </a:prstGeom>
          <a:ln w="12700">
            <a:solidFill>
              <a:srgbClr val="0055A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>
              <a:lnSpc>
                <a:spcPts val="933"/>
              </a:lnSpc>
            </a:pPr>
            <a:r>
              <a:rPr lang="ru-RU" sz="1067" b="1" dirty="0"/>
              <a:t>Приоритеты в обеспечении устойчивости</a:t>
            </a:r>
          </a:p>
        </p:txBody>
      </p:sp>
      <p:grpSp>
        <p:nvGrpSpPr>
          <p:cNvPr id="54" name="Group 53"/>
          <p:cNvGrpSpPr/>
          <p:nvPr/>
        </p:nvGrpSpPr>
        <p:grpSpPr>
          <a:xfrm>
            <a:off x="68888" y="899717"/>
            <a:ext cx="12056531" cy="1483744"/>
            <a:chOff x="51666" y="519047"/>
            <a:chExt cx="9042398" cy="1242798"/>
          </a:xfrm>
        </p:grpSpPr>
        <p:sp>
          <p:nvSpPr>
            <p:cNvPr id="58" name="Rectangle 57"/>
            <p:cNvSpPr/>
            <p:nvPr/>
          </p:nvSpPr>
          <p:spPr>
            <a:xfrm>
              <a:off x="393849" y="1377619"/>
              <a:ext cx="2834640" cy="3574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1467" b="1" dirty="0">
                  <a:solidFill>
                    <a:srgbClr val="575757"/>
                  </a:solidFill>
                </a:rPr>
                <a:t>Снизить смертность от туберкулеза </a:t>
              </a:r>
              <a:br>
                <a:rPr lang="ru-RU" sz="1467" b="1" dirty="0">
                  <a:solidFill>
                    <a:srgbClr val="575757"/>
                  </a:solidFill>
                </a:rPr>
              </a:br>
              <a:r>
                <a:rPr lang="ru-RU" sz="1467" b="1" dirty="0">
                  <a:solidFill>
                    <a:srgbClr val="575757"/>
                  </a:solidFill>
                </a:rPr>
                <a:t>на 35%</a:t>
              </a: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3322845" y="1377836"/>
              <a:ext cx="2834640" cy="3574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1467" b="1" dirty="0">
                  <a:solidFill>
                    <a:srgbClr val="575757"/>
                  </a:solidFill>
                </a:rPr>
                <a:t>Снизить заболеваемость туберкулезом на 20%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251810" y="1376862"/>
              <a:ext cx="2834640" cy="35742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1467" b="1" dirty="0">
                  <a:solidFill>
                    <a:srgbClr val="575757"/>
                  </a:solidFill>
                </a:rPr>
                <a:t>Довести показатель успешности лечения МЛУ-ТБ до 75%</a:t>
              </a: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51666" y="1007341"/>
              <a:ext cx="279550" cy="754504"/>
            </a:xfrm>
            <a:prstGeom prst="rect">
              <a:avLst/>
            </a:prstGeom>
            <a:ln w="12700">
              <a:solidFill>
                <a:srgbClr val="0055AA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>
                <a:lnSpc>
                  <a:spcPts val="667"/>
                </a:lnSpc>
              </a:pPr>
              <a:r>
                <a:rPr lang="ru-RU" sz="800" b="1" dirty="0"/>
                <a:t>Цели стратегии «Положить конец ТБ» (2020 г.)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398120" y="519047"/>
              <a:ext cx="8695944" cy="439122"/>
            </a:xfrm>
            <a:prstGeom prst="rect">
              <a:avLst/>
            </a:prstGeom>
            <a:solidFill>
              <a:srgbClr val="0055AA"/>
            </a:solidFill>
            <a:ln w="63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1600" b="1" dirty="0">
                  <a:solidFill>
                    <a:schemeClr val="bg1"/>
                  </a:solidFill>
                </a:rPr>
                <a:t>Ускорить и поддержать прогресс в снижении заболеваемости и смертности от всех форм туберкулеза в регионе 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53361" y="520772"/>
              <a:ext cx="284252" cy="439122"/>
            </a:xfrm>
            <a:prstGeom prst="rect">
              <a:avLst/>
            </a:prstGeom>
            <a:ln w="12700">
              <a:solidFill>
                <a:srgbClr val="0055AA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 rtl="0"/>
              <a:r>
                <a:rPr lang="ru-RU" sz="933" b="1" dirty="0"/>
                <a:t>Виде-</a:t>
              </a:r>
              <a:r>
                <a:rPr lang="ru-RU" sz="933" b="1" dirty="0" err="1"/>
                <a:t>ние</a:t>
              </a:r>
              <a:endParaRPr lang="ru-RU" sz="933" b="1" dirty="0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393849" y="997544"/>
              <a:ext cx="8695944" cy="357425"/>
            </a:xfrm>
            <a:prstGeom prst="rect">
              <a:avLst/>
            </a:prstGeom>
            <a:noFill/>
            <a:ln w="12700">
              <a:solidFill>
                <a:srgbClr val="0070C0"/>
              </a:solidFill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rtl="0"/>
              <a:r>
                <a:rPr lang="ru-RU" sz="1600" b="1" dirty="0">
                  <a:solidFill>
                    <a:schemeClr val="tx1"/>
                  </a:solidFill>
                </a:rPr>
                <a:t>Способствовать достижению целей стратегии «Положить конец эпидемии туберкулеза»</a:t>
              </a:r>
            </a:p>
          </p:txBody>
        </p:sp>
      </p:grpSp>
      <p:sp>
        <p:nvSpPr>
          <p:cNvPr id="78" name="Rectangle 77"/>
          <p:cNvSpPr/>
          <p:nvPr/>
        </p:nvSpPr>
        <p:spPr>
          <a:xfrm>
            <a:off x="530984" y="6411437"/>
            <a:ext cx="11594592" cy="280416"/>
          </a:xfrm>
          <a:prstGeom prst="rect">
            <a:avLst/>
          </a:prstGeom>
          <a:solidFill>
            <a:schemeClr val="bg1"/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933"/>
              </a:lnSpc>
            </a:pPr>
            <a:r>
              <a:rPr lang="ru-RU" sz="1067" dirty="0">
                <a:solidFill>
                  <a:srgbClr val="575757"/>
                </a:solidFill>
              </a:rPr>
              <a:t>Поддерживать изменения в политике, направленные на устранение неэффективности в использовании выделенных ресурсов и межпрограммной деятельности, на интеграцию систем и услуг в программы по ПМСП и другие программы по заболеваниям и на перераспределение задач </a:t>
            </a:r>
          </a:p>
        </p:txBody>
      </p:sp>
      <p:sp>
        <p:nvSpPr>
          <p:cNvPr id="79" name="Rectangle 78"/>
          <p:cNvSpPr/>
          <p:nvPr/>
        </p:nvSpPr>
        <p:spPr>
          <a:xfrm>
            <a:off x="522343" y="5490941"/>
            <a:ext cx="11594592" cy="280416"/>
          </a:xfrm>
          <a:prstGeom prst="rect">
            <a:avLst/>
          </a:prstGeom>
          <a:solidFill>
            <a:srgbClr val="0055AA">
              <a:alpha val="25098"/>
            </a:srgbClr>
          </a:solidFill>
          <a:ln w="12700">
            <a:solidFill>
              <a:srgbClr val="0055A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067" b="1" dirty="0">
                <a:solidFill>
                  <a:srgbClr val="575757"/>
                </a:solidFill>
              </a:rPr>
              <a:t>Ускорить благоприятные эпидемические тенденции при мобилизации внутренних ресурсов и оптимизации общих расходов по программам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25907" y="5073932"/>
            <a:ext cx="9677076" cy="304800"/>
          </a:xfrm>
          <a:prstGeom prst="rect">
            <a:avLst/>
          </a:prstGeom>
          <a:noFill/>
          <a:ln w="12700" cap="rnd" cmpd="sng" algn="ctr">
            <a:solidFill>
              <a:srgbClr val="0055A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ru-RU" sz="1067">
                <a:solidFill>
                  <a:srgbClr val="575757"/>
                </a:solidFill>
              </a:rPr>
              <a:t>Усовершенствовать электронные информационные системы ведения пациентов </a:t>
            </a:r>
            <a:endParaRPr lang="ru-RU" sz="1067" dirty="0">
              <a:solidFill>
                <a:srgbClr val="575757"/>
              </a:solidFill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9614260" y="5218044"/>
            <a:ext cx="582936" cy="166123"/>
          </a:xfrm>
          <a:prstGeom prst="rect">
            <a:avLst/>
          </a:prstGeom>
          <a:solidFill>
            <a:srgbClr val="00AE3A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800" dirty="0">
                <a:solidFill>
                  <a:schemeClr val="bg1"/>
                </a:solidFill>
              </a:rPr>
              <a:t>ЖУССЗ</a:t>
            </a:r>
          </a:p>
        </p:txBody>
      </p:sp>
      <p:sp>
        <p:nvSpPr>
          <p:cNvPr id="133" name="Rectangle 132"/>
          <p:cNvSpPr/>
          <p:nvPr/>
        </p:nvSpPr>
        <p:spPr>
          <a:xfrm>
            <a:off x="4430705" y="3888382"/>
            <a:ext cx="1828800" cy="1150839"/>
          </a:xfrm>
          <a:prstGeom prst="rect">
            <a:avLst/>
          </a:prstGeom>
          <a:noFill/>
          <a:ln w="12700" cap="rnd" cmpd="sng" algn="ctr">
            <a:solidFill>
              <a:srgbClr val="0055A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800"/>
              </a:lnSpc>
            </a:pPr>
            <a:r>
              <a:rPr lang="ru-RU" sz="800" dirty="0">
                <a:solidFill>
                  <a:srgbClr val="575757"/>
                </a:solidFill>
                <a:highlight>
                  <a:srgbClr val="FFFF00"/>
                </a:highlight>
              </a:rPr>
              <a:t>Удовлетворять потребности ключевых и уязвимых групп населения в лечении туберкулеза </a:t>
            </a:r>
            <a:r>
              <a:rPr lang="ru-RU" sz="800" dirty="0">
                <a:solidFill>
                  <a:srgbClr val="575757"/>
                </a:solidFill>
              </a:rPr>
              <a:t>(ЛЖВ, мигранты, дети, заключенные и лица, контактирующие с больными туберкулезом) путем целенаправленных усилий по отслеживанию контактов, скрининга и активного выявления случаев заболевания</a:t>
            </a:r>
          </a:p>
        </p:txBody>
      </p:sp>
      <p:sp>
        <p:nvSpPr>
          <p:cNvPr id="134" name="Rectangle 133"/>
          <p:cNvSpPr/>
          <p:nvPr/>
        </p:nvSpPr>
        <p:spPr>
          <a:xfrm>
            <a:off x="8313223" y="4491700"/>
            <a:ext cx="1889760" cy="548640"/>
          </a:xfrm>
          <a:prstGeom prst="rect">
            <a:avLst/>
          </a:prstGeom>
          <a:noFill/>
          <a:ln w="12700" cap="rnd" cmpd="sng" algn="ctr">
            <a:solidFill>
              <a:srgbClr val="0055A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ru-RU" sz="933" dirty="0">
              <a:solidFill>
                <a:srgbClr val="575757"/>
              </a:solidFill>
            </a:endParaRPr>
          </a:p>
        </p:txBody>
      </p:sp>
      <p:sp>
        <p:nvSpPr>
          <p:cNvPr id="135" name="Rectangle 134"/>
          <p:cNvSpPr/>
          <p:nvPr/>
        </p:nvSpPr>
        <p:spPr>
          <a:xfrm>
            <a:off x="3693572" y="4853721"/>
            <a:ext cx="611080" cy="171772"/>
          </a:xfrm>
          <a:prstGeom prst="rect">
            <a:avLst/>
          </a:prstGeom>
          <a:solidFill>
            <a:srgbClr val="00AE3A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800" dirty="0">
                <a:solidFill>
                  <a:schemeClr val="bg1"/>
                </a:solidFill>
              </a:rPr>
              <a:t>ЖУССЗ</a:t>
            </a:r>
          </a:p>
        </p:txBody>
      </p:sp>
      <p:sp>
        <p:nvSpPr>
          <p:cNvPr id="136" name="Rectangle 135"/>
          <p:cNvSpPr/>
          <p:nvPr/>
        </p:nvSpPr>
        <p:spPr>
          <a:xfrm>
            <a:off x="7678396" y="4890840"/>
            <a:ext cx="578257" cy="146733"/>
          </a:xfrm>
          <a:prstGeom prst="rect">
            <a:avLst/>
          </a:prstGeom>
          <a:solidFill>
            <a:srgbClr val="00AE3A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800" dirty="0">
                <a:solidFill>
                  <a:schemeClr val="bg1"/>
                </a:solidFill>
              </a:rPr>
              <a:t>ЖУССЗ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11523262" y="5237097"/>
            <a:ext cx="588585" cy="139169"/>
          </a:xfrm>
          <a:prstGeom prst="rect">
            <a:avLst/>
          </a:prstGeom>
          <a:solidFill>
            <a:srgbClr val="00AE3A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800" dirty="0">
                <a:solidFill>
                  <a:schemeClr val="bg1"/>
                </a:solidFill>
              </a:rPr>
              <a:t>ЖУССЗ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10214159" y="4766761"/>
            <a:ext cx="1901059" cy="4626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933"/>
              </a:lnSpc>
            </a:pPr>
            <a:r>
              <a:rPr lang="ru-RU" sz="800" dirty="0">
                <a:solidFill>
                  <a:srgbClr val="575757"/>
                </a:solidFill>
              </a:rPr>
              <a:t>Осуществлять совместное </a:t>
            </a:r>
            <a:br>
              <a:rPr lang="ru-RU" sz="800" dirty="0">
                <a:solidFill>
                  <a:srgbClr val="575757"/>
                </a:solidFill>
              </a:rPr>
            </a:br>
            <a:r>
              <a:rPr lang="ru-RU" sz="800" dirty="0">
                <a:solidFill>
                  <a:srgbClr val="575757"/>
                </a:solidFill>
              </a:rPr>
              <a:t>финансирование инвестиций </a:t>
            </a:r>
          </a:p>
          <a:p>
            <a:pPr algn="ctr">
              <a:lnSpc>
                <a:spcPts val="933"/>
              </a:lnSpc>
            </a:pPr>
            <a:r>
              <a:rPr lang="ru-RU" sz="800" dirty="0">
                <a:solidFill>
                  <a:srgbClr val="575757"/>
                </a:solidFill>
              </a:rPr>
              <a:t>для усиления мер </a:t>
            </a:r>
          </a:p>
          <a:p>
            <a:pPr algn="ctr">
              <a:lnSpc>
                <a:spcPts val="933"/>
              </a:lnSpc>
            </a:pPr>
            <a:r>
              <a:rPr lang="ru-RU" sz="800" dirty="0">
                <a:solidFill>
                  <a:srgbClr val="575757"/>
                </a:solidFill>
              </a:rPr>
              <a:t>инфекционного контроля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10243771" y="3881768"/>
            <a:ext cx="1868076" cy="83528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933"/>
              </a:lnSpc>
            </a:pPr>
            <a:r>
              <a:rPr lang="ru-RU" sz="800" dirty="0">
                <a:solidFill>
                  <a:srgbClr val="575757"/>
                </a:solidFill>
              </a:rPr>
              <a:t>Ускорить внедрение </a:t>
            </a:r>
          </a:p>
          <a:p>
            <a:pPr algn="ctr">
              <a:lnSpc>
                <a:spcPts val="933"/>
              </a:lnSpc>
            </a:pPr>
            <a:r>
              <a:rPr lang="ru-RU" sz="800" dirty="0">
                <a:solidFill>
                  <a:srgbClr val="575757"/>
                </a:solidFill>
              </a:rPr>
              <a:t>новых схем лечения,  </a:t>
            </a:r>
          </a:p>
          <a:p>
            <a:pPr algn="ctr">
              <a:lnSpc>
                <a:spcPts val="933"/>
              </a:lnSpc>
            </a:pPr>
            <a:r>
              <a:rPr lang="ru-RU" sz="800" dirty="0">
                <a:solidFill>
                  <a:srgbClr val="575757"/>
                </a:solidFill>
              </a:rPr>
              <a:t>подходов, ориентированных на </a:t>
            </a:r>
            <a:br>
              <a:rPr lang="ru-RU" sz="800" dirty="0">
                <a:solidFill>
                  <a:srgbClr val="575757"/>
                </a:solidFill>
              </a:rPr>
            </a:br>
            <a:r>
              <a:rPr lang="ru-RU" sz="800" dirty="0">
                <a:solidFill>
                  <a:srgbClr val="575757"/>
                </a:solidFill>
              </a:rPr>
              <a:t>пациента, и механизмов </a:t>
            </a:r>
          </a:p>
          <a:p>
            <a:pPr algn="ctr">
              <a:lnSpc>
                <a:spcPts val="933"/>
              </a:lnSpc>
            </a:pPr>
            <a:r>
              <a:rPr lang="ru-RU" sz="800" dirty="0">
                <a:solidFill>
                  <a:srgbClr val="575757"/>
                </a:solidFill>
              </a:rPr>
              <a:t>поддержки</a:t>
            </a:r>
          </a:p>
        </p:txBody>
      </p:sp>
      <p:sp>
        <p:nvSpPr>
          <p:cNvPr id="140" name="Rectangle 139"/>
          <p:cNvSpPr/>
          <p:nvPr/>
        </p:nvSpPr>
        <p:spPr>
          <a:xfrm>
            <a:off x="11507134" y="4538443"/>
            <a:ext cx="604713" cy="170503"/>
          </a:xfrm>
          <a:prstGeom prst="rect">
            <a:avLst/>
          </a:prstGeom>
          <a:solidFill>
            <a:srgbClr val="00AE3A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800" dirty="0">
                <a:solidFill>
                  <a:schemeClr val="bg1"/>
                </a:solidFill>
              </a:rPr>
              <a:t>ЖУССЗ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6385028" y="4505609"/>
            <a:ext cx="1824953" cy="4254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ru-RU" sz="800" dirty="0">
                <a:solidFill>
                  <a:srgbClr val="575757"/>
                </a:solidFill>
              </a:rPr>
              <a:t>Поддержать усилия по укреплению </a:t>
            </a:r>
          </a:p>
          <a:p>
            <a:pPr algn="ctr" rtl="0"/>
            <a:r>
              <a:rPr lang="ru-RU" sz="800" dirty="0">
                <a:solidFill>
                  <a:srgbClr val="575757"/>
                </a:solidFill>
              </a:rPr>
              <a:t>потенциала в области управления </a:t>
            </a:r>
            <a:br>
              <a:rPr lang="ru-RU" sz="800" dirty="0">
                <a:solidFill>
                  <a:srgbClr val="575757"/>
                </a:solidFill>
              </a:rPr>
            </a:br>
            <a:r>
              <a:rPr lang="ru-RU" sz="800" dirty="0">
                <a:solidFill>
                  <a:srgbClr val="575757"/>
                </a:solidFill>
              </a:rPr>
              <a:t>запасами лекарственных средств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9652631" y="4245665"/>
            <a:ext cx="544564" cy="187124"/>
          </a:xfrm>
          <a:prstGeom prst="rect">
            <a:avLst/>
          </a:prstGeom>
          <a:solidFill>
            <a:srgbClr val="00AE3A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667" dirty="0">
                <a:solidFill>
                  <a:schemeClr val="bg1"/>
                </a:solidFill>
              </a:rPr>
              <a:t>ЖУССЗ</a:t>
            </a:r>
          </a:p>
        </p:txBody>
      </p:sp>
      <p:sp>
        <p:nvSpPr>
          <p:cNvPr id="146" name="Rectangle 145"/>
          <p:cNvSpPr/>
          <p:nvPr/>
        </p:nvSpPr>
        <p:spPr>
          <a:xfrm>
            <a:off x="9714811" y="4888380"/>
            <a:ext cx="539165" cy="148233"/>
          </a:xfrm>
          <a:prstGeom prst="rect">
            <a:avLst/>
          </a:prstGeom>
          <a:solidFill>
            <a:srgbClr val="00AE3A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667" dirty="0">
                <a:solidFill>
                  <a:schemeClr val="bg1"/>
                </a:solidFill>
              </a:rPr>
              <a:t>ЖУССЗ</a:t>
            </a:r>
          </a:p>
        </p:txBody>
      </p:sp>
      <p:sp>
        <p:nvSpPr>
          <p:cNvPr id="147" name="Right Brace 146"/>
          <p:cNvSpPr/>
          <p:nvPr/>
        </p:nvSpPr>
        <p:spPr>
          <a:xfrm rot="16200000">
            <a:off x="3347885" y="2127917"/>
            <a:ext cx="109180" cy="2456155"/>
          </a:xfrm>
          <a:prstGeom prst="rightBrace">
            <a:avLst/>
          </a:prstGeom>
          <a:ln w="9525" cap="rnd">
            <a:solidFill>
              <a:srgbClr val="0055A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ru-RU" sz="2400"/>
          </a:p>
        </p:txBody>
      </p:sp>
      <p:sp>
        <p:nvSpPr>
          <p:cNvPr id="148" name="Right Brace 147"/>
          <p:cNvSpPr/>
          <p:nvPr/>
        </p:nvSpPr>
        <p:spPr>
          <a:xfrm rot="16200000">
            <a:off x="9187494" y="2119775"/>
            <a:ext cx="109180" cy="2456155"/>
          </a:xfrm>
          <a:prstGeom prst="rightBrace">
            <a:avLst/>
          </a:prstGeom>
          <a:ln w="9525" cap="rnd">
            <a:solidFill>
              <a:srgbClr val="0055A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ru-RU" sz="2400"/>
          </a:p>
        </p:txBody>
      </p:sp>
      <p:sp>
        <p:nvSpPr>
          <p:cNvPr id="142" name="TextBox 141"/>
          <p:cNvSpPr txBox="1"/>
          <p:nvPr/>
        </p:nvSpPr>
        <p:spPr>
          <a:xfrm>
            <a:off x="8525692" y="3852185"/>
            <a:ext cx="1428205" cy="5594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r>
              <a:rPr lang="ru-RU" sz="800" dirty="0">
                <a:solidFill>
                  <a:srgbClr val="575757"/>
                </a:solidFill>
              </a:rPr>
              <a:t>Разработать эффективные механизмы</a:t>
            </a:r>
          </a:p>
          <a:p>
            <a:pPr algn="ctr" rtl="0"/>
            <a:r>
              <a:rPr lang="ru-RU" sz="800" dirty="0">
                <a:solidFill>
                  <a:srgbClr val="575757"/>
                </a:solidFill>
              </a:rPr>
              <a:t>экспертной поддержки диагностики </a:t>
            </a:r>
          </a:p>
          <a:p>
            <a:pPr algn="ctr" rtl="0"/>
            <a:r>
              <a:rPr lang="ru-RU" sz="800" spc="-13" dirty="0">
                <a:solidFill>
                  <a:srgbClr val="575757"/>
                </a:solidFill>
              </a:rPr>
              <a:t>и клинического ведения </a:t>
            </a:r>
          </a:p>
          <a:p>
            <a:pPr algn="ctr" rtl="0"/>
            <a:r>
              <a:rPr lang="ru-RU" sz="800" dirty="0">
                <a:solidFill>
                  <a:srgbClr val="575757"/>
                </a:solidFill>
              </a:rPr>
              <a:t>сложных случаев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8375194" y="4590655"/>
            <a:ext cx="1908023" cy="35621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800"/>
              </a:lnSpc>
            </a:pPr>
            <a:r>
              <a:rPr lang="ru-RU" sz="667" dirty="0">
                <a:solidFill>
                  <a:srgbClr val="575757"/>
                </a:solidFill>
              </a:rPr>
              <a:t>Демократизировать знания в </a:t>
            </a:r>
            <a:br>
              <a:rPr lang="ru-RU" sz="667" dirty="0">
                <a:solidFill>
                  <a:srgbClr val="575757"/>
                </a:solidFill>
              </a:rPr>
            </a:br>
            <a:r>
              <a:rPr lang="ru-RU" sz="667" dirty="0">
                <a:solidFill>
                  <a:srgbClr val="575757"/>
                </a:solidFill>
              </a:rPr>
              <a:t>целях повышения качества </a:t>
            </a:r>
            <a:br>
              <a:rPr lang="ru-RU" sz="667" dirty="0">
                <a:solidFill>
                  <a:srgbClr val="575757"/>
                </a:solidFill>
              </a:rPr>
            </a:br>
            <a:r>
              <a:rPr lang="ru-RU" sz="667" dirty="0">
                <a:solidFill>
                  <a:srgbClr val="575757"/>
                </a:solidFill>
              </a:rPr>
              <a:t>ведения случаев РУ/МЛУ-ТБ, </a:t>
            </a:r>
          </a:p>
          <a:p>
            <a:pPr>
              <a:lnSpc>
                <a:spcPts val="800"/>
              </a:lnSpc>
            </a:pPr>
            <a:r>
              <a:rPr lang="ru-RU" sz="667" dirty="0">
                <a:solidFill>
                  <a:srgbClr val="575757"/>
                </a:solidFill>
              </a:rPr>
              <a:t>включая побочные реакции </a:t>
            </a:r>
          </a:p>
          <a:p>
            <a:pPr>
              <a:lnSpc>
                <a:spcPts val="800"/>
              </a:lnSpc>
            </a:pPr>
            <a:r>
              <a:rPr lang="ru-RU" sz="667" dirty="0">
                <a:solidFill>
                  <a:srgbClr val="575757"/>
                </a:solidFill>
              </a:rPr>
              <a:t>и сопутствующие заболевания</a:t>
            </a:r>
          </a:p>
        </p:txBody>
      </p:sp>
    </p:spTree>
    <p:extLst>
      <p:ext uri="{BB962C8B-B14F-4D97-AF65-F5344CB8AC3E}">
        <p14:creationId xmlns:p14="http://schemas.microsoft.com/office/powerpoint/2010/main" val="39679052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09599" y="415636"/>
            <a:ext cx="10584873" cy="942109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700" dirty="0" smtClean="0"/>
              <a:t/>
            </a:r>
            <a:br>
              <a:rPr lang="ru-RU" sz="2700" dirty="0" smtClean="0"/>
            </a:br>
            <a:r>
              <a:rPr lang="ru-RU" sz="2700" dirty="0"/>
              <a:t/>
            </a:r>
            <a:br>
              <a:rPr lang="ru-RU" sz="2700" dirty="0"/>
            </a:br>
            <a:r>
              <a:rPr lang="ru-RU" sz="2700" dirty="0" smtClean="0"/>
              <a:t/>
            </a:r>
            <a:br>
              <a:rPr lang="ru-RU" sz="2700" dirty="0" smtClean="0"/>
            </a:br>
            <a:r>
              <a:rPr lang="ru-RU" sz="2700" dirty="0" smtClean="0"/>
              <a:t>Модуль </a:t>
            </a:r>
            <a:r>
              <a:rPr lang="ru-RU" sz="2700" dirty="0"/>
              <a:t>1</a:t>
            </a:r>
            <a:r>
              <a:rPr lang="ru-RU" sz="2700" dirty="0" smtClean="0"/>
              <a:t>. </a:t>
            </a:r>
            <a:r>
              <a:rPr lang="ru-RU" sz="2700" dirty="0"/>
              <a:t>Планирование и управление сектором </a:t>
            </a:r>
            <a:r>
              <a:rPr lang="ru-RU" sz="2700" dirty="0" smtClean="0"/>
              <a:t>здравоохранения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1600" y="997527"/>
            <a:ext cx="11896436" cy="5735782"/>
          </a:xfrm>
        </p:spPr>
        <p:txBody>
          <a:bodyPr>
            <a:normAutofit lnSpcReduction="10000"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Пересмотр НПА </a:t>
            </a:r>
            <a:r>
              <a:rPr lang="ru-RU" sz="2400" dirty="0"/>
              <a:t>в связи с ВИЧ и ТБ, </a:t>
            </a:r>
            <a:r>
              <a:rPr lang="ru-RU" sz="2400" dirty="0" smtClean="0"/>
              <a:t>ПГГ, ПЖВЛС, закупки ЛС через </a:t>
            </a:r>
            <a:r>
              <a:rPr lang="ru-RU" sz="2400" dirty="0"/>
              <a:t>международные платформы, </a:t>
            </a:r>
            <a:r>
              <a:rPr lang="ru-RU" sz="2400" dirty="0" err="1"/>
              <a:t>институализации</a:t>
            </a:r>
            <a:r>
              <a:rPr lang="ru-RU" sz="2400" dirty="0"/>
              <a:t> программ снижения вреда и др</a:t>
            </a:r>
            <a:r>
              <a:rPr lang="ru-RU" sz="2400" dirty="0" smtClean="0"/>
              <a:t>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Обновление планов перехода на </a:t>
            </a:r>
            <a:r>
              <a:rPr lang="ru-RU" sz="2400" dirty="0" err="1" smtClean="0"/>
              <a:t>гос.финансирование</a:t>
            </a:r>
            <a:r>
              <a:rPr lang="ru-RU" sz="2400" dirty="0" smtClean="0"/>
              <a:t> программ ВИЧ, ТБ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Регистрация ЛС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Расширение ГСЗ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Дорожная карта </a:t>
            </a:r>
            <a:r>
              <a:rPr lang="ru-RU" sz="2400" dirty="0"/>
              <a:t>по оптимизации службы и переходу на амбулаторное лечение </a:t>
            </a:r>
            <a:r>
              <a:rPr lang="ru-RU" sz="2400" dirty="0" smtClean="0"/>
              <a:t>ТБ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Пересмотр клинических протоколов по ВИЧ, ТБ, ПТАО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НПА в сфере ВГ в связи с ВИЧ и ТБ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Совершенствование </a:t>
            </a:r>
            <a:r>
              <a:rPr lang="ru-RU" sz="2400" dirty="0" err="1" smtClean="0"/>
              <a:t>эл.слежения</a:t>
            </a:r>
            <a:r>
              <a:rPr lang="ru-RU" sz="2400" dirty="0" smtClean="0"/>
              <a:t> за ВИЧ и ТБ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2400" dirty="0" smtClean="0"/>
              <a:t>Проведение среднесрочных оценок Программ КМ в сфере ВИЧ и ТБ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4251470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5467" y="152718"/>
            <a:ext cx="11548533" cy="632373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/>
              <a:t>Модуль </a:t>
            </a:r>
            <a:r>
              <a:rPr lang="ru-RU" sz="2800" dirty="0"/>
              <a:t>2. 	</a:t>
            </a:r>
            <a:r>
              <a:rPr lang="ru-RU" sz="2800" dirty="0" smtClean="0"/>
              <a:t>Укрепление систем сообществ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6757" y="785091"/>
            <a:ext cx="11777388" cy="5938981"/>
          </a:xfrm>
        </p:spPr>
        <p:txBody>
          <a:bodyPr>
            <a:normAutofit fontScale="9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оддержка </a:t>
            </a:r>
            <a:r>
              <a:rPr lang="ru-RU" dirty="0"/>
              <a:t>электронных систем документирования нарушения прав </a:t>
            </a:r>
            <a:r>
              <a:rPr lang="ru-RU" dirty="0" err="1"/>
              <a:t>REAct</a:t>
            </a:r>
            <a:r>
              <a:rPr lang="ru-RU" dirty="0"/>
              <a:t>, </a:t>
            </a:r>
            <a:r>
              <a:rPr lang="ru-RU" dirty="0" err="1"/>
              <a:t>OneImpact</a:t>
            </a:r>
            <a:r>
              <a:rPr lang="ru-RU" dirty="0"/>
              <a:t>, pereboi.kg </a:t>
            </a: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Обучение </a:t>
            </a:r>
            <a:r>
              <a:rPr lang="ru-RU" dirty="0"/>
              <a:t>для повышения потенциала по сбору данных, анализу и использованию результатов </a:t>
            </a:r>
            <a:r>
              <a:rPr lang="ru-RU" dirty="0" smtClean="0"/>
              <a:t>мониторинг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оведение </a:t>
            </a:r>
            <a:r>
              <a:rPr lang="ru-RU" dirty="0"/>
              <a:t>повторного БПИ и оценки численности среди </a:t>
            </a:r>
            <a:r>
              <a:rPr lang="ru-RU" dirty="0" smtClean="0"/>
              <a:t>ЛУН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ересмотр </a:t>
            </a:r>
            <a:r>
              <a:rPr lang="ru-RU" dirty="0"/>
              <a:t>механизмов </a:t>
            </a:r>
            <a:r>
              <a:rPr lang="ru-RU" dirty="0" err="1"/>
              <a:t>эпиднадзора</a:t>
            </a:r>
            <a:r>
              <a:rPr lang="ru-RU" dirty="0"/>
              <a:t> за случаями ТБ и повышению достоверности собираемых данных</a:t>
            </a:r>
            <a:r>
              <a:rPr lang="ru-RU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оведение </a:t>
            </a:r>
            <a:r>
              <a:rPr lang="ru-RU" dirty="0"/>
              <a:t>исследований по оценке стигмы и дискриминации в отношении ВИЧ и ТБ</a:t>
            </a:r>
            <a:r>
              <a:rPr lang="ru-RU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оведение </a:t>
            </a:r>
            <a:r>
              <a:rPr lang="ru-RU" dirty="0"/>
              <a:t>регулярного анализа законодательства и барьеров в </a:t>
            </a:r>
            <a:r>
              <a:rPr lang="ru-RU" dirty="0" smtClean="0"/>
              <a:t>НПА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Опросы среди затронутых групп по качеству, доступности услуг в связи с ВИЧ и </a:t>
            </a:r>
            <a:r>
              <a:rPr lang="ru-RU" dirty="0" smtClean="0"/>
              <a:t>ТБ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Исследования по определению потребностей и барьеров с учетом гендерных факторов, влияния насилия и предпринимаемых мер для их </a:t>
            </a:r>
            <a:r>
              <a:rPr lang="ru-RU" dirty="0" smtClean="0"/>
              <a:t>снижен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Исследования </a:t>
            </a:r>
            <a:r>
              <a:rPr lang="ru-RU" dirty="0"/>
              <a:t>по оценке риска заражения ВИЧ и ТБ среди мигрантов</a:t>
            </a:r>
            <a:r>
              <a:rPr lang="ru-RU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Мобилизация сообществ мигрантов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Оказание </a:t>
            </a:r>
            <a:r>
              <a:rPr lang="ru-RU" dirty="0"/>
              <a:t>технической помощи </a:t>
            </a:r>
            <a:r>
              <a:rPr lang="ru-RU" dirty="0" smtClean="0"/>
              <a:t>НПО </a:t>
            </a:r>
            <a:r>
              <a:rPr lang="ru-RU" dirty="0"/>
              <a:t>в организационном развитии для адаптации к новым </a:t>
            </a:r>
            <a:r>
              <a:rPr lang="ru-RU" dirty="0" smtClean="0"/>
              <a:t>НП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err="1" smtClean="0"/>
              <a:t>Адвокационные</a:t>
            </a:r>
            <a:r>
              <a:rPr lang="ru-RU" dirty="0" smtClean="0"/>
              <a:t> компании, встречи высокого уровня, </a:t>
            </a:r>
            <a:r>
              <a:rPr lang="ru-RU" dirty="0" err="1" smtClean="0"/>
              <a:t>межсекторальные</a:t>
            </a:r>
            <a:r>
              <a:rPr lang="ru-RU" dirty="0" smtClean="0"/>
              <a:t> платформы</a:t>
            </a:r>
          </a:p>
        </p:txBody>
      </p:sp>
    </p:spTree>
    <p:extLst>
      <p:ext uri="{BB962C8B-B14F-4D97-AF65-F5344CB8AC3E}">
        <p14:creationId xmlns:p14="http://schemas.microsoft.com/office/powerpoint/2010/main" val="38388596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99" y="152718"/>
            <a:ext cx="10159785" cy="512300"/>
          </a:xfrm>
        </p:spPr>
        <p:txBody>
          <a:bodyPr>
            <a:normAutofit fontScale="90000"/>
          </a:bodyPr>
          <a:lstStyle/>
          <a:p>
            <a:r>
              <a:rPr lang="ru-RU" sz="2800" dirty="0">
                <a:solidFill>
                  <a:srgbClr val="D1282E"/>
                </a:solidFill>
              </a:rPr>
              <a:t>Модуль 3. 	Управление программой 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9435369"/>
              </p:ext>
            </p:extLst>
          </p:nvPr>
        </p:nvGraphicFramePr>
        <p:xfrm>
          <a:off x="304800" y="858982"/>
          <a:ext cx="11379200" cy="4465965"/>
        </p:xfrm>
        <a:graphic>
          <a:graphicData uri="http://schemas.openxmlformats.org/drawingml/2006/table">
            <a:tbl>
              <a:tblPr/>
              <a:tblGrid>
                <a:gridCol w="59963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828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28132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ПРООН</a:t>
                      </a:r>
                      <a:r>
                        <a:rPr lang="ru-RU" sz="2000" b="1" baseline="0" dirty="0" smtClean="0"/>
                        <a:t> - </a:t>
                      </a:r>
                      <a:r>
                        <a:rPr lang="ru-RU" sz="2000" b="1" dirty="0" smtClean="0"/>
                        <a:t>Основной получатель,</a:t>
                      </a:r>
                      <a:r>
                        <a:rPr lang="ru-RU" sz="2000" b="1" baseline="0" dirty="0" smtClean="0"/>
                        <a:t> </a:t>
                      </a:r>
                      <a:r>
                        <a:rPr lang="ru-RU" sz="2000" b="1" dirty="0" smtClean="0"/>
                        <a:t>выполняет функции:</a:t>
                      </a:r>
                      <a:endParaRPr lang="ru-RU" sz="2000" b="1" dirty="0"/>
                    </a:p>
                  </a:txBody>
                  <a:tcPr marL="86379" marR="86379"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/>
                        <a:t>Основной </a:t>
                      </a:r>
                      <a:r>
                        <a:rPr lang="ru-RU" sz="2000" b="1" dirty="0" err="1" smtClean="0"/>
                        <a:t>субреципиент</a:t>
                      </a:r>
                      <a:r>
                        <a:rPr lang="ru-RU" sz="2000" b="1" dirty="0" smtClean="0"/>
                        <a:t>-</a:t>
                      </a:r>
                      <a:r>
                        <a:rPr lang="ru-RU" sz="2000" b="1" baseline="0" dirty="0" smtClean="0"/>
                        <a:t> ЦРЗ</a:t>
                      </a:r>
                      <a:endParaRPr lang="ru-RU" sz="2000" b="1" dirty="0" smtClean="0"/>
                    </a:p>
                  </a:txBody>
                  <a:tcPr marL="86379" marR="8637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37833">
                <a:tc>
                  <a:txBody>
                    <a:bodyPr/>
                    <a:lstStyle/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ru-RU" dirty="0" smtClean="0"/>
                        <a:t> </a:t>
                      </a:r>
                      <a:r>
                        <a:rPr lang="ru-RU" sz="2000" dirty="0" smtClean="0"/>
                        <a:t>несет ответственность за все вопросы, связанные с реализацией проекта, включая надзор за </a:t>
                      </a:r>
                      <a:r>
                        <a:rPr lang="ru-RU" sz="2000" dirty="0" err="1" smtClean="0"/>
                        <a:t>Субреципиентами</a:t>
                      </a:r>
                      <a:r>
                        <a:rPr lang="ru-RU" sz="2000" dirty="0" smtClean="0"/>
                        <a:t> </a:t>
                      </a: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2000" dirty="0" smtClean="0"/>
                        <a:t> функции закупок (медицинских и не медицинских продуктов, оборудования и услуг), управление финансами, мониторинг проектов, связанных и оценки и отчетности в Глобальный фонд.</a:t>
                      </a:r>
                    </a:p>
                    <a:p>
                      <a:pPr marL="285750" indent="-285750" algn="just">
                        <a:buFont typeface="Arial" panose="020B0604020202020204" pitchFamily="34" charset="0"/>
                        <a:buChar char="•"/>
                      </a:pPr>
                      <a:r>
                        <a:rPr lang="ru-RU" sz="2000" dirty="0" smtClean="0"/>
                        <a:t>разрабатывает планы работы по реализации проекта и представляет отчеты об исполнении проекта в СКК. </a:t>
                      </a:r>
                      <a:endParaRPr lang="ru-RU" sz="2000" dirty="0"/>
                    </a:p>
                  </a:txBody>
                  <a:tcPr marL="86379" marR="8637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2000" dirty="0" smtClean="0"/>
                        <a:t>Осуществляется постепенный переход управления государственными организациями</a:t>
                      </a:r>
                    </a:p>
                    <a:p>
                      <a:pPr algn="just"/>
                      <a:endParaRPr lang="ru-RU" sz="2000" dirty="0" smtClean="0"/>
                    </a:p>
                    <a:p>
                      <a:pPr algn="just"/>
                      <a:r>
                        <a:rPr lang="ru-RU" sz="2000" dirty="0" smtClean="0"/>
                        <a:t>В первый год НЦФ</a:t>
                      </a:r>
                    </a:p>
                    <a:p>
                      <a:pPr algn="just"/>
                      <a:endParaRPr lang="ru-RU" sz="2000" dirty="0" smtClean="0"/>
                    </a:p>
                    <a:p>
                      <a:pPr algn="just"/>
                      <a:r>
                        <a:rPr lang="ru-RU" sz="2000" dirty="0" smtClean="0"/>
                        <a:t>Во второй год, в случаев выполнения необходимых условий, переходят остальные </a:t>
                      </a:r>
                      <a:r>
                        <a:rPr lang="ru-RU" sz="2000" dirty="0" err="1" smtClean="0"/>
                        <a:t>гос.организации</a:t>
                      </a:r>
                      <a:r>
                        <a:rPr lang="ru-RU" sz="2000" dirty="0" smtClean="0"/>
                        <a:t> – РЦ СПИД, РЦПН</a:t>
                      </a:r>
                    </a:p>
                    <a:p>
                      <a:pPr algn="just"/>
                      <a:endParaRPr lang="ru-RU" dirty="0" smtClean="0"/>
                    </a:p>
                  </a:txBody>
                  <a:tcPr marL="86379" marR="8637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591125" y="5445020"/>
            <a:ext cx="1108671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НПО, </a:t>
            </a:r>
            <a:r>
              <a:rPr lang="ru-RU" sz="2000" dirty="0"/>
              <a:t>действующие в области </a:t>
            </a:r>
            <a:r>
              <a:rPr lang="ru-RU" sz="2000" dirty="0" smtClean="0"/>
              <a:t>ТБ </a:t>
            </a:r>
            <a:r>
              <a:rPr lang="ru-RU" sz="2000" dirty="0"/>
              <a:t>и </a:t>
            </a:r>
            <a:r>
              <a:rPr lang="ru-RU" sz="2000" dirty="0" smtClean="0"/>
              <a:t>ВИЧ  </a:t>
            </a:r>
            <a:r>
              <a:rPr lang="ru-RU" sz="2000" dirty="0"/>
              <a:t>законтрактованы напрямую с</a:t>
            </a:r>
            <a:r>
              <a:rPr lang="ru-RU" sz="2000" dirty="0" smtClean="0"/>
              <a:t> ОР на </a:t>
            </a:r>
            <a:r>
              <a:rPr lang="ru-RU" sz="2000" dirty="0"/>
              <a:t>основе программы малых грантов</a:t>
            </a:r>
            <a:r>
              <a:rPr lang="ru-RU" sz="2000" dirty="0" smtClean="0"/>
              <a:t>. </a:t>
            </a:r>
            <a:r>
              <a:rPr lang="ru-RU" sz="2000" dirty="0"/>
              <a:t>Внешний аудит оценки эффективности проекта и финансового управления являются неотъемлемой частью предлагаемых механизмов управления</a:t>
            </a:r>
          </a:p>
        </p:txBody>
      </p:sp>
    </p:spTree>
    <p:extLst>
      <p:ext uri="{BB962C8B-B14F-4D97-AF65-F5344CB8AC3E}">
        <p14:creationId xmlns:p14="http://schemas.microsoft.com/office/powerpoint/2010/main" val="425496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5467" y="152718"/>
            <a:ext cx="11548533" cy="63237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dirty="0" smtClean="0"/>
              <a:t>Модуль 4, 6. Пакет </a:t>
            </a:r>
            <a:r>
              <a:rPr lang="ru-RU" sz="2800" dirty="0"/>
              <a:t>профилактических мер для </a:t>
            </a:r>
            <a:r>
              <a:rPr lang="ru-RU" sz="2800" dirty="0" smtClean="0"/>
              <a:t>МСМ, ТГ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6757" y="785091"/>
            <a:ext cx="11777388" cy="593898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Расширение он-</a:t>
            </a:r>
            <a:r>
              <a:rPr lang="ru-RU" dirty="0" err="1" smtClean="0"/>
              <a:t>лайн</a:t>
            </a:r>
            <a:r>
              <a:rPr lang="ru-RU" dirty="0" smtClean="0"/>
              <a:t> услуг и тестирование с использованием </a:t>
            </a:r>
            <a:r>
              <a:rPr lang="ru-RU" dirty="0" err="1" smtClean="0"/>
              <a:t>тестоматов</a:t>
            </a: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едоставление презервативов, </a:t>
            </a:r>
            <a:r>
              <a:rPr lang="ru-RU" dirty="0" err="1" smtClean="0"/>
              <a:t>любрикантов</a:t>
            </a: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оддержка 3-х НПО, оказывающих услуги для МСМ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оддержка 1-го НПО, предоставляющих услуги для ТГ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оддержка </a:t>
            </a:r>
            <a:r>
              <a:rPr lang="ru-RU" dirty="0" err="1" smtClean="0"/>
              <a:t>шелтера</a:t>
            </a: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Услуги в связи с ИППП, психологическое консультирование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Обучение по безопасным практикам поведения</a:t>
            </a:r>
          </a:p>
          <a:p>
            <a:r>
              <a:rPr lang="ru-RU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82219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6757" y="697664"/>
            <a:ext cx="11548533" cy="632373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800" dirty="0" smtClean="0"/>
              <a:t>Модуль 5</a:t>
            </a:r>
            <a:r>
              <a:rPr lang="ru-RU" sz="2800" dirty="0"/>
              <a:t>. Пакет профилактических мер для секс-работников, их клиентов и других сексуальных партнеров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6757" y="1330037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оддержка работы НПО в г. Бишкек, г. Ош, г. Джалал </a:t>
            </a:r>
            <a:r>
              <a:rPr lang="ru-RU" dirty="0" err="1" smtClean="0"/>
              <a:t>Абад</a:t>
            </a:r>
            <a:r>
              <a:rPr lang="ru-RU" dirty="0" smtClean="0"/>
              <a:t>, Чуйская область, </a:t>
            </a:r>
            <a:r>
              <a:rPr lang="ru-RU" dirty="0"/>
              <a:t>в составе </a:t>
            </a:r>
            <a:r>
              <a:rPr lang="ru-RU" dirty="0" err="1"/>
              <a:t>мультидисциплинарных</a:t>
            </a:r>
            <a:r>
              <a:rPr lang="ru-RU" dirty="0"/>
              <a:t> </a:t>
            </a:r>
            <a:r>
              <a:rPr lang="ru-RU" dirty="0" smtClean="0"/>
              <a:t>НПО Иссык-Кульской </a:t>
            </a:r>
            <a:r>
              <a:rPr lang="ru-RU" dirty="0"/>
              <a:t>и </a:t>
            </a:r>
            <a:r>
              <a:rPr lang="ru-RU" dirty="0" err="1"/>
              <a:t>Таласской</a:t>
            </a:r>
            <a:r>
              <a:rPr lang="ru-RU" dirty="0"/>
              <a:t> областях</a:t>
            </a:r>
            <a:r>
              <a:rPr lang="ru-RU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Расширение онлайн услуг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Обеспечение </a:t>
            </a:r>
            <a:r>
              <a:rPr lang="ru-RU" dirty="0"/>
              <a:t>доступа к тестированию через </a:t>
            </a:r>
            <a:r>
              <a:rPr lang="ru-RU" dirty="0" err="1"/>
              <a:t>тестоматы</a:t>
            </a:r>
            <a:r>
              <a:rPr lang="ru-RU" dirty="0"/>
              <a:t> или предоставление </a:t>
            </a:r>
            <a:r>
              <a:rPr lang="ru-RU" dirty="0" err="1"/>
              <a:t>самотестов</a:t>
            </a:r>
            <a:r>
              <a:rPr lang="ru-RU" dirty="0"/>
              <a:t> через аптеки, курьерские службы, предоставление презервативов через </a:t>
            </a:r>
            <a:r>
              <a:rPr lang="ru-RU" dirty="0" err="1"/>
              <a:t>вендинговые</a:t>
            </a:r>
            <a:r>
              <a:rPr lang="ru-RU" dirty="0"/>
              <a:t> </a:t>
            </a:r>
            <a:r>
              <a:rPr lang="ru-RU" dirty="0" smtClean="0"/>
              <a:t>аппараты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Предоставление презервативов и </a:t>
            </a:r>
            <a:r>
              <a:rPr lang="ru-RU" dirty="0" err="1"/>
              <a:t>лубрикантов</a:t>
            </a:r>
            <a:r>
              <a:rPr lang="ru-RU" dirty="0"/>
              <a:t> </a:t>
            </a:r>
            <a:r>
              <a:rPr lang="ru-RU" dirty="0" smtClean="0"/>
              <a:t>через </a:t>
            </a:r>
            <a:r>
              <a:rPr lang="ru-RU" dirty="0" err="1" smtClean="0"/>
              <a:t>кондоматы</a:t>
            </a:r>
            <a:r>
              <a:rPr lang="ru-RU" dirty="0" smtClean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ересмотр информационных материалов с упором на молодых СР (18-24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Диагностика </a:t>
            </a:r>
            <a:r>
              <a:rPr lang="ru-RU" dirty="0"/>
              <a:t>и лечение ИППП, тестирование на беременность, скрининг на рак шейки </a:t>
            </a:r>
            <a:r>
              <a:rPr lang="ru-RU" dirty="0" smtClean="0"/>
              <a:t>матки</a:t>
            </a:r>
            <a:r>
              <a:rPr lang="ru-RU" dirty="0"/>
              <a:t>.</a:t>
            </a: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авовая поддержка для обеспечения доступа к социальным и медицинским услугам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Регулярный сбор потребностей и проведение опросов с целью коррекции программы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041036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55918"/>
            <a:ext cx="11548533" cy="632373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800" dirty="0" smtClean="0"/>
              <a:t>Модуль </a:t>
            </a:r>
            <a:r>
              <a:rPr lang="ru-RU" sz="2800" dirty="0"/>
              <a:t>7. Пакет профилактики для </a:t>
            </a:r>
            <a:r>
              <a:rPr lang="ru-RU" sz="2800" dirty="0" smtClean="0"/>
              <a:t>ЛУН </a:t>
            </a:r>
            <a:r>
              <a:rPr lang="ru-RU" sz="2800" dirty="0"/>
              <a:t>(инъекционные и </a:t>
            </a:r>
            <a:r>
              <a:rPr lang="ru-RU" sz="2800" dirty="0" err="1"/>
              <a:t>неинъекционные</a:t>
            </a:r>
            <a:r>
              <a:rPr lang="ru-RU" sz="2800" dirty="0"/>
              <a:t>) и их половых партнеров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45309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Расширение онлайн услуг, использование </a:t>
            </a:r>
            <a:r>
              <a:rPr lang="ru-RU" dirty="0"/>
              <a:t>социальных сетей, </a:t>
            </a:r>
            <a:r>
              <a:rPr lang="ru-RU" dirty="0" smtClean="0"/>
              <a:t>онлайн-коммуникаций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Тестирование </a:t>
            </a:r>
            <a:r>
              <a:rPr lang="ru-RU" dirty="0"/>
              <a:t>на ВГС; скрининг </a:t>
            </a:r>
            <a:r>
              <a:rPr lang="ru-RU" dirty="0" smtClean="0"/>
              <a:t>тестирование </a:t>
            </a:r>
            <a:r>
              <a:rPr lang="ru-RU" dirty="0"/>
              <a:t>и лечение </a:t>
            </a:r>
            <a:r>
              <a:rPr lang="ru-RU" dirty="0" smtClean="0"/>
              <a:t>ИППП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Тестирование </a:t>
            </a:r>
            <a:r>
              <a:rPr lang="ru-RU" dirty="0"/>
              <a:t>через </a:t>
            </a:r>
            <a:r>
              <a:rPr lang="ru-RU" dirty="0" err="1" smtClean="0"/>
              <a:t>тестоматы</a:t>
            </a:r>
            <a:r>
              <a:rPr lang="ru-RU" dirty="0" smtClean="0"/>
              <a:t>, </a:t>
            </a:r>
            <a:r>
              <a:rPr lang="ru-RU" dirty="0"/>
              <a:t>предоставление </a:t>
            </a:r>
            <a:r>
              <a:rPr lang="ru-RU" dirty="0" err="1"/>
              <a:t>самотестов</a:t>
            </a:r>
            <a:r>
              <a:rPr lang="ru-RU" dirty="0"/>
              <a:t> через аптеки, курьерские службы. </a:t>
            </a: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Выдача ИМН, экспресс-тестов через </a:t>
            </a:r>
            <a:r>
              <a:rPr lang="ru-RU" dirty="0" err="1" smtClean="0"/>
              <a:t>вендинговые</a:t>
            </a:r>
            <a:r>
              <a:rPr lang="ru-RU" dirty="0" smtClean="0"/>
              <a:t> аппараты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оддержка 3 самостоятельных НПО и 3 комплексных НПО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Услуги ПТАО на базе областных ЦН и ПМСП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Выдача </a:t>
            </a:r>
            <a:r>
              <a:rPr lang="ru-RU" dirty="0" err="1" smtClean="0"/>
              <a:t>бупренорфина</a:t>
            </a:r>
            <a:r>
              <a:rPr lang="ru-RU" dirty="0" smtClean="0"/>
              <a:t>/</a:t>
            </a:r>
            <a:r>
              <a:rPr lang="ru-RU" dirty="0" err="1" smtClean="0"/>
              <a:t>налоксона</a:t>
            </a:r>
            <a:r>
              <a:rPr lang="ru-RU" dirty="0" smtClean="0"/>
              <a:t> и </a:t>
            </a:r>
            <a:r>
              <a:rPr lang="ru-RU" dirty="0" err="1" smtClean="0"/>
              <a:t>бупренорфина</a:t>
            </a:r>
            <a:r>
              <a:rPr lang="ru-RU" dirty="0" smtClean="0"/>
              <a:t> пролонгированного действия (100 ЛУИН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err="1" smtClean="0"/>
              <a:t>Дроп</a:t>
            </a:r>
            <a:r>
              <a:rPr lang="ru-RU" dirty="0" smtClean="0"/>
              <a:t>-ин центр для ЛУИН/БЗ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6555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427" y="660718"/>
            <a:ext cx="11548533" cy="632373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800" dirty="0" smtClean="0"/>
              <a:t>Модуль 8</a:t>
            </a:r>
            <a:r>
              <a:rPr lang="ru-RU" sz="2800" dirty="0"/>
              <a:t>. Пакет профилактических мер для лиц, находящихся в тюрьмах и других закрытых учреждениях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403927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ограммы СВ в 9 пенитенциарных </a:t>
            </a:r>
            <a:r>
              <a:rPr lang="ru-RU" dirty="0" err="1" smtClean="0"/>
              <a:t>уч-ях</a:t>
            </a:r>
            <a:r>
              <a:rPr lang="ru-RU" dirty="0" smtClean="0"/>
              <a:t> (8 ПОШ и 9 ПТАО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Тестирование на вирусные гепатиты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Диагностика </a:t>
            </a:r>
            <a:r>
              <a:rPr lang="ru-RU" dirty="0"/>
              <a:t>и лечение ИППП, лечение гепатита С, обеспечение вакцинацией гепатита </a:t>
            </a:r>
            <a:r>
              <a:rPr lang="ru-RU" dirty="0" smtClean="0"/>
              <a:t>В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Внедрение экспресс-тестирования </a:t>
            </a:r>
            <a:r>
              <a:rPr lang="ru-RU" dirty="0"/>
              <a:t>на ВИЧ в </a:t>
            </a:r>
            <a:r>
              <a:rPr lang="ru-RU" dirty="0" smtClean="0"/>
              <a:t>СИЗО и через 6 месяцев в исправительном учреждении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Предоставление </a:t>
            </a:r>
            <a:r>
              <a:rPr lang="ru-RU" dirty="0" err="1" smtClean="0"/>
              <a:t>налоксона</a:t>
            </a:r>
            <a:r>
              <a:rPr lang="ru-RU" dirty="0" smtClean="0"/>
              <a:t> и обучение по предотвращению передозировок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С</a:t>
            </a:r>
            <a:r>
              <a:rPr lang="ru-RU" dirty="0" smtClean="0"/>
              <a:t>опровождение </a:t>
            </a:r>
            <a:r>
              <a:rPr lang="ru-RU" dirty="0"/>
              <a:t>заключенных, находящихся в ПТАО, на АРТ, лечении ТБ или гепатитов после </a:t>
            </a:r>
            <a:r>
              <a:rPr lang="ru-RU" dirty="0" smtClean="0"/>
              <a:t>освобождения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Тренинги для персонала ИУ по вопросам стигмы и дискриминации, обеспечении прав ЛЖВ, особенностям работы с </a:t>
            </a:r>
            <a:r>
              <a:rPr lang="ru-RU" dirty="0" err="1" smtClean="0"/>
              <a:t>суб</a:t>
            </a:r>
            <a:r>
              <a:rPr lang="ru-RU" dirty="0" smtClean="0"/>
              <a:t> группами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294535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61954"/>
            <a:ext cx="11548533" cy="632373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800" dirty="0" smtClean="0"/>
              <a:t>Модуль 9</a:t>
            </a:r>
            <a:r>
              <a:rPr lang="ru-RU" sz="2800" dirty="0"/>
              <a:t>. Дифференцированное тестирование на ВИЧ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08363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47781" y="886691"/>
            <a:ext cx="11777388" cy="5883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П</a:t>
            </a:r>
            <a:r>
              <a:rPr lang="ru-RU" dirty="0" smtClean="0"/>
              <a:t>рограммы </a:t>
            </a:r>
            <a:r>
              <a:rPr lang="ru-RU" dirty="0"/>
              <a:t>тестирования на базе </a:t>
            </a:r>
            <a:r>
              <a:rPr lang="ru-RU" dirty="0" smtClean="0"/>
              <a:t>НПО с </a:t>
            </a:r>
            <a:r>
              <a:rPr lang="ru-RU" dirty="0"/>
              <a:t>использованием </a:t>
            </a:r>
            <a:r>
              <a:rPr lang="ru-RU" dirty="0" smtClean="0"/>
              <a:t>экспресс-тестов </a:t>
            </a:r>
            <a:r>
              <a:rPr lang="ru-RU" dirty="0"/>
              <a:t>по слюне и капле </a:t>
            </a:r>
            <a:r>
              <a:rPr lang="ru-RU" dirty="0" smtClean="0"/>
              <a:t>крови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Внедрение онлайн консультирования и получения тестов через </a:t>
            </a:r>
            <a:r>
              <a:rPr lang="ru-RU" dirty="0" err="1" smtClean="0"/>
              <a:t>тестоматы</a:t>
            </a:r>
            <a:r>
              <a:rPr lang="ru-RU" dirty="0" smtClean="0"/>
              <a:t>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Интеграция </a:t>
            </a:r>
            <a:r>
              <a:rPr lang="ru-RU" dirty="0"/>
              <a:t>экспресс-тестирования по капиллярной крови на ВИЧ </a:t>
            </a:r>
            <a:r>
              <a:rPr lang="ru-RU" dirty="0" smtClean="0"/>
              <a:t>на </a:t>
            </a:r>
            <a:r>
              <a:rPr lang="ru-RU" dirty="0"/>
              <a:t>уровне </a:t>
            </a:r>
            <a:r>
              <a:rPr lang="ru-RU" dirty="0" smtClean="0"/>
              <a:t>ПСМП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ересмотр действующих стратегий по тестированию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Внедрение «оплаты за результат» для специалистов </a:t>
            </a:r>
            <a:r>
              <a:rPr lang="ru-RU" dirty="0" smtClean="0"/>
              <a:t>вовлеченных </a:t>
            </a:r>
            <a:r>
              <a:rPr lang="ru-RU" dirty="0"/>
              <a:t>в предоставление услуг тестирования ВИЧ. 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опуляризация </a:t>
            </a:r>
            <a:r>
              <a:rPr lang="ru-RU" dirty="0"/>
              <a:t>услуг тестирования и </a:t>
            </a:r>
            <a:r>
              <a:rPr lang="ru-RU" dirty="0" smtClean="0"/>
              <a:t>самотестирования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Внедрение механизма сопровождения лиц, с положительным результатом ВИЧ в программы лечения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Внешняя оценка качества лабораторных исследований и аккредитация лабораторий на областном уровне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Расширение </a:t>
            </a:r>
            <a:r>
              <a:rPr lang="ru-RU" dirty="0"/>
              <a:t>совместного использования платформ G-</a:t>
            </a:r>
            <a:r>
              <a:rPr lang="ru-RU" dirty="0" err="1"/>
              <a:t>Xpert</a:t>
            </a:r>
            <a:r>
              <a:rPr lang="ru-RU" dirty="0"/>
              <a:t> для программ ВИЧ, ТБ, COVID-19 и вирусных гепатитов.</a:t>
            </a:r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847042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8968"/>
            <a:ext cx="11548533" cy="632373"/>
          </a:xfrm>
        </p:spPr>
        <p:txBody>
          <a:bodyPr>
            <a:normAutofit/>
          </a:bodyPr>
          <a:lstStyle/>
          <a:p>
            <a:pPr algn="just"/>
            <a:r>
              <a:rPr lang="ru-RU" sz="2800" dirty="0" smtClean="0"/>
              <a:t>Модуль 10</a:t>
            </a:r>
            <a:r>
              <a:rPr lang="ru-RU" sz="2800" dirty="0"/>
              <a:t>. Лечение, уход и поддерж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08363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0" y="660398"/>
            <a:ext cx="11888223" cy="619760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Увеличение срока выдачи АРВ-препаратов в более широком  диапазоне учреждений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2 </a:t>
            </a:r>
            <a:r>
              <a:rPr lang="ru-RU" dirty="0" err="1" smtClean="0"/>
              <a:t>мультидисциплинарные</a:t>
            </a:r>
            <a:r>
              <a:rPr lang="ru-RU" dirty="0" smtClean="0"/>
              <a:t> команды на севере и юге страны (индексное тестирование, выдача АРВ на базе МДК, ДКП, уход за тяжелыми пациентами)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Закупка ЛП и ИМН для мониторинга эффективности лечения ВИЧ 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Мониторинг </a:t>
            </a:r>
            <a:r>
              <a:rPr lang="ru-RU" dirty="0"/>
              <a:t>и </a:t>
            </a:r>
            <a:r>
              <a:rPr lang="ru-RU" dirty="0" smtClean="0"/>
              <a:t>ответные меры </a:t>
            </a:r>
            <a:r>
              <a:rPr lang="ru-RU" dirty="0"/>
              <a:t>на отдаленные побочные эффекты </a:t>
            </a:r>
            <a:r>
              <a:rPr lang="ru-RU" dirty="0" smtClean="0"/>
              <a:t>АРВ-препаратов (</a:t>
            </a:r>
            <a:r>
              <a:rPr lang="en-US" dirty="0" smtClean="0"/>
              <a:t>TDF)</a:t>
            </a:r>
            <a:r>
              <a:rPr lang="ru-RU" dirty="0" smtClean="0"/>
              <a:t>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Транспортировка анализов из отдаленных регионов.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Мониторинг </a:t>
            </a:r>
            <a:r>
              <a:rPr lang="ru-RU" dirty="0"/>
              <a:t>индикаторов раннего предупреждения лекарственной устойчивости к ВИЧ в программах </a:t>
            </a:r>
            <a:r>
              <a:rPr lang="ru-RU" dirty="0" smtClean="0"/>
              <a:t>лечения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Услуги </a:t>
            </a:r>
            <a:r>
              <a:rPr lang="ru-RU" dirty="0"/>
              <a:t>по </a:t>
            </a:r>
            <a:r>
              <a:rPr lang="ru-RU" dirty="0" smtClean="0"/>
              <a:t>СРЗ для женщин/девочек ВИЧ (предоставление </a:t>
            </a:r>
            <a:r>
              <a:rPr lang="ru-RU" dirty="0"/>
              <a:t>контрацептивов; </a:t>
            </a:r>
            <a:r>
              <a:rPr lang="ru-RU" dirty="0" smtClean="0"/>
              <a:t>профилактика, диагностика </a:t>
            </a:r>
            <a:r>
              <a:rPr lang="ru-RU" dirty="0"/>
              <a:t>и лечение ИППП; </a:t>
            </a:r>
            <a:r>
              <a:rPr lang="ru-RU" dirty="0" smtClean="0"/>
              <a:t>рака </a:t>
            </a:r>
            <a:r>
              <a:rPr lang="ru-RU" dirty="0"/>
              <a:t>шейки матки; услуги гинеколога и доступ к вакцинации против </a:t>
            </a:r>
            <a:r>
              <a:rPr lang="ru-RU" dirty="0" smtClean="0"/>
              <a:t>ВПЧ(с </a:t>
            </a:r>
            <a:r>
              <a:rPr lang="ru-RU" dirty="0"/>
              <a:t>11 до 45 лет</a:t>
            </a:r>
            <a:r>
              <a:rPr lang="ru-RU" dirty="0" smtClean="0"/>
              <a:t>))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Мотивационные выплаты медицинским работникам и сотрудникам НПО «за результат»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разовательные курсы для детей с ВИЧ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ересмотр СОП и инструкций </a:t>
            </a:r>
            <a:r>
              <a:rPr lang="ru-RU" dirty="0"/>
              <a:t>по </a:t>
            </a:r>
            <a:r>
              <a:rPr lang="ru-RU" dirty="0" err="1"/>
              <a:t>по</a:t>
            </a:r>
            <a:r>
              <a:rPr lang="ru-RU" dirty="0"/>
              <a:t> распределению, хранению и управлению запасами ЛС и </a:t>
            </a:r>
            <a:r>
              <a:rPr lang="ru-RU" dirty="0" smtClean="0"/>
              <a:t>ИМН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оддержка специалистов по планированию и прогнозированию закупок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Разработка системы транспортировки и хранения ЛС и ИМН, закупка 2-х авто для транспортировки ЛС и ИМН в регионы.</a:t>
            </a:r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058287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8968"/>
            <a:ext cx="11548533" cy="632373"/>
          </a:xfrm>
        </p:spPr>
        <p:txBody>
          <a:bodyPr>
            <a:normAutofit/>
          </a:bodyPr>
          <a:lstStyle/>
          <a:p>
            <a:pPr algn="just"/>
            <a:r>
              <a:rPr lang="ru-RU" sz="2800" dirty="0" smtClean="0"/>
              <a:t>Модуль 11</a:t>
            </a:r>
            <a:r>
              <a:rPr lang="ru-RU" sz="2800" dirty="0"/>
              <a:t>. ТБ/ВИЧ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08363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10835" y="1306944"/>
            <a:ext cx="11777388" cy="6197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Выявление ТБ среди </a:t>
            </a:r>
            <a:r>
              <a:rPr lang="ru-RU" dirty="0"/>
              <a:t>ЛЖВ, увеличение охвата профилактическим лечением латентной туберкулезной </a:t>
            </a:r>
            <a:r>
              <a:rPr lang="ru-RU" dirty="0" smtClean="0"/>
              <a:t>инфекции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Внедрение экспресс-тестирования на ВИЧ параллельно с ТБ на ПМСП.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Закупка экспресс-тестов для определения </a:t>
            </a:r>
            <a:r>
              <a:rPr lang="en-US" dirty="0" smtClean="0"/>
              <a:t>Ag</a:t>
            </a:r>
            <a:r>
              <a:rPr lang="ru-RU" dirty="0" smtClean="0"/>
              <a:t> микобактерий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Закупка ЛП, позволяющих сократить курс лечения для ЛЖВ с латентным ТБ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учение </a:t>
            </a:r>
            <a:r>
              <a:rPr lang="ru-RU" dirty="0"/>
              <a:t>стандартам оказания услуг лечения, ухода и поддержки для людей с </a:t>
            </a:r>
            <a:r>
              <a:rPr lang="ru-RU" dirty="0" err="1"/>
              <a:t>коинфекцией</a:t>
            </a:r>
            <a:r>
              <a:rPr lang="ru-RU" dirty="0"/>
              <a:t> ВИЧ и </a:t>
            </a:r>
            <a:r>
              <a:rPr lang="ru-RU" dirty="0" smtClean="0"/>
              <a:t>ТБ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Интеграция систем электронного слежения ВИЧ и ТБ в систему электронного здравоохранения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Усиление взаимодействия служб ВИЧ и ТБ.</a:t>
            </a:r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688575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Object 1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13" name="Object 1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6" name="Straight Connector 175"/>
          <p:cNvCxnSpPr/>
          <p:nvPr/>
        </p:nvCxnSpPr>
        <p:spPr>
          <a:xfrm flipV="1">
            <a:off x="2396537" y="1838801"/>
            <a:ext cx="0" cy="2804160"/>
          </a:xfrm>
          <a:prstGeom prst="line">
            <a:avLst/>
          </a:prstGeom>
          <a:ln w="12700">
            <a:solidFill>
              <a:srgbClr val="CD202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/>
        </p:nvCxnSpPr>
        <p:spPr>
          <a:xfrm flipV="1">
            <a:off x="6323455" y="1921820"/>
            <a:ext cx="0" cy="1219200"/>
          </a:xfrm>
          <a:prstGeom prst="line">
            <a:avLst/>
          </a:prstGeom>
          <a:ln w="12700">
            <a:solidFill>
              <a:srgbClr val="CD202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/>
        </p:nvCxnSpPr>
        <p:spPr>
          <a:xfrm flipV="1">
            <a:off x="4980160" y="2626123"/>
            <a:ext cx="0" cy="1828800"/>
          </a:xfrm>
          <a:prstGeom prst="line">
            <a:avLst/>
          </a:prstGeom>
          <a:ln w="12700">
            <a:solidFill>
              <a:srgbClr val="CD202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/>
        </p:nvCxnSpPr>
        <p:spPr>
          <a:xfrm flipV="1">
            <a:off x="10276497" y="1955393"/>
            <a:ext cx="0" cy="3323820"/>
          </a:xfrm>
          <a:prstGeom prst="line">
            <a:avLst/>
          </a:prstGeom>
          <a:ln w="12700">
            <a:solidFill>
              <a:srgbClr val="CD202C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 txBox="1">
            <a:spLocks/>
          </p:cNvSpPr>
          <p:nvPr/>
        </p:nvSpPr>
        <p:spPr>
          <a:xfrm>
            <a:off x="0" y="-17585"/>
            <a:ext cx="12192000" cy="477805"/>
          </a:xfrm>
          <a:prstGeom prst="rect">
            <a:avLst/>
          </a:prstGeom>
          <a:solidFill>
            <a:srgbClr val="25B17F"/>
          </a:solidFill>
        </p:spPr>
        <p:txBody>
          <a:bodyPr vert="horz" wrap="square" lIns="0" tIns="72000" rIns="0" bIns="7200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l" rtl="0"/>
            <a:r>
              <a:rPr lang="ru-RU" b="1" dirty="0">
                <a:solidFill>
                  <a:prstClr val="white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Региональные приоритеты для ВЕЦА – ВИЧ/СПИД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36593" y="5700818"/>
            <a:ext cx="12086209" cy="1013164"/>
            <a:chOff x="39041" y="3993515"/>
            <a:chExt cx="9064657" cy="951856"/>
          </a:xfrm>
        </p:grpSpPr>
        <p:grpSp>
          <p:nvGrpSpPr>
            <p:cNvPr id="122" name="Group 121"/>
            <p:cNvGrpSpPr/>
            <p:nvPr/>
          </p:nvGrpSpPr>
          <p:grpSpPr>
            <a:xfrm>
              <a:off x="396757" y="4330386"/>
              <a:ext cx="8706908" cy="614985"/>
              <a:chOff x="62345" y="3830350"/>
              <a:chExt cx="5969759" cy="528189"/>
            </a:xfrm>
          </p:grpSpPr>
          <p:sp>
            <p:nvSpPr>
              <p:cNvPr id="125" name="Rectangle 124"/>
              <p:cNvSpPr/>
              <p:nvPr/>
            </p:nvSpPr>
            <p:spPr>
              <a:xfrm>
                <a:off x="62345" y="3830350"/>
                <a:ext cx="5969759" cy="2443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D202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933"/>
                  </a:lnSpc>
                </a:pPr>
                <a:r>
                  <a:rPr lang="ru-RU" sz="1067" dirty="0">
                    <a:solidFill>
                      <a:schemeClr val="tx1"/>
                    </a:solidFill>
                  </a:rPr>
                  <a:t>Поощрять и стимулировать государственное финансирование и принятие ответственности за осуществление мероприятий, финансируемых Глобальным фондом, с уделением особого внимания поддержанию и/или расширению охвата мерами профилактики, тестирования и лечения ключевых групп населения </a:t>
                </a:r>
              </a:p>
            </p:txBody>
          </p:sp>
          <p:sp>
            <p:nvSpPr>
              <p:cNvPr id="126" name="Rectangle 125"/>
              <p:cNvSpPr/>
              <p:nvPr/>
            </p:nvSpPr>
            <p:spPr>
              <a:xfrm>
                <a:off x="62345" y="4114225"/>
                <a:ext cx="5955498" cy="2443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D202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>
                  <a:lnSpc>
                    <a:spcPts val="933"/>
                  </a:lnSpc>
                </a:pPr>
                <a:r>
                  <a:rPr lang="ru-RU" sz="1067" spc="-40" dirty="0">
                    <a:solidFill>
                      <a:schemeClr val="tx1"/>
                    </a:solidFill>
                  </a:rPr>
                  <a:t>Поддерживать изменения в политике, направленные на устранение неэффективности в использовании выделенных ресурсов и межпрограммной деятельности, на интеграцию</a:t>
                </a:r>
                <a:br>
                  <a:rPr lang="ru-RU" sz="1067" spc="-40" dirty="0">
                    <a:solidFill>
                      <a:schemeClr val="tx1"/>
                    </a:solidFill>
                  </a:rPr>
                </a:br>
                <a:r>
                  <a:rPr lang="ru-RU" sz="1067" spc="-40" dirty="0">
                    <a:solidFill>
                      <a:schemeClr val="tx1"/>
                    </a:solidFill>
                  </a:rPr>
                  <a:t> систем и услуг в программы по ПМСП и другие программы по заболеваниям, на перераспределение задач и децентрализацию </a:t>
                </a:r>
              </a:p>
            </p:txBody>
          </p:sp>
        </p:grpSp>
        <p:sp>
          <p:nvSpPr>
            <p:cNvPr id="123" name="Rectangle 122"/>
            <p:cNvSpPr/>
            <p:nvPr/>
          </p:nvSpPr>
          <p:spPr>
            <a:xfrm>
              <a:off x="39041" y="3998724"/>
              <a:ext cx="295849" cy="941949"/>
            </a:xfrm>
            <a:prstGeom prst="rect">
              <a:avLst/>
            </a:prstGeom>
            <a:ln w="12700">
              <a:solidFill>
                <a:srgbClr val="CD202C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>
                <a:lnSpc>
                  <a:spcPts val="800"/>
                </a:lnSpc>
              </a:pPr>
              <a:r>
                <a:rPr lang="ru-RU" sz="933" b="1" dirty="0"/>
                <a:t>Приоритеты в обеспечении устойчивости</a:t>
              </a:r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406322" y="3993515"/>
              <a:ext cx="8697376" cy="284461"/>
            </a:xfrm>
            <a:prstGeom prst="rect">
              <a:avLst/>
            </a:prstGeom>
            <a:solidFill>
              <a:srgbClr val="E68F95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1200" b="1">
                  <a:solidFill>
                    <a:schemeClr val="tx1"/>
                  </a:solidFill>
                </a:rPr>
                <a:t>Ускорить благоприятные эпидемические тенденции при мобилизации внутренних ресурсов и оптимизации общих расходов по программам</a:t>
              </a:r>
            </a:p>
          </p:txBody>
        </p:sp>
      </p:grpSp>
      <p:sp>
        <p:nvSpPr>
          <p:cNvPr id="127" name="Rectangle 126"/>
          <p:cNvSpPr/>
          <p:nvPr/>
        </p:nvSpPr>
        <p:spPr>
          <a:xfrm>
            <a:off x="11433843" y="6456314"/>
            <a:ext cx="661181" cy="251132"/>
          </a:xfrm>
          <a:prstGeom prst="rect">
            <a:avLst/>
          </a:prstGeom>
          <a:solidFill>
            <a:srgbClr val="00AE3A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800" dirty="0">
                <a:solidFill>
                  <a:schemeClr val="bg1"/>
                </a:solidFill>
              </a:rPr>
              <a:t>ЖУССЗ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37292" y="2531420"/>
            <a:ext cx="12068005" cy="791837"/>
            <a:chOff x="27969" y="1898565"/>
            <a:chExt cx="9051004" cy="593878"/>
          </a:xfrm>
        </p:grpSpPr>
        <p:sp>
          <p:nvSpPr>
            <p:cNvPr id="157" name="Rectangle 156"/>
            <p:cNvSpPr/>
            <p:nvPr/>
          </p:nvSpPr>
          <p:spPr>
            <a:xfrm>
              <a:off x="6335773" y="1907238"/>
              <a:ext cx="2743200" cy="564533"/>
            </a:xfrm>
            <a:prstGeom prst="rect">
              <a:avLst/>
            </a:prstGeom>
            <a:solidFill>
              <a:srgbClr val="E68F95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rtl="0"/>
              <a:r>
                <a:rPr lang="ru-RU" sz="1200" b="1" dirty="0">
                  <a:solidFill>
                    <a:schemeClr val="tx1"/>
                  </a:solidFill>
                  <a:highlight>
                    <a:srgbClr val="FFFF00"/>
                  </a:highlight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Поддерживать мероприятия по снижению дискриминации в связи с ВИЧ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27969" y="1898565"/>
              <a:ext cx="6182074" cy="593878"/>
              <a:chOff x="27969" y="1898565"/>
              <a:chExt cx="6182074" cy="593878"/>
            </a:xfrm>
          </p:grpSpPr>
          <p:sp>
            <p:nvSpPr>
              <p:cNvPr id="163" name="Rectangle 162"/>
              <p:cNvSpPr/>
              <p:nvPr/>
            </p:nvSpPr>
            <p:spPr>
              <a:xfrm>
                <a:off x="27969" y="1902032"/>
                <a:ext cx="288650" cy="590411"/>
              </a:xfrm>
              <a:prstGeom prst="rect">
                <a:avLst/>
              </a:prstGeom>
              <a:ln w="12700">
                <a:solidFill>
                  <a:srgbClr val="CD202C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vert270" rtlCol="0" anchor="ctr"/>
              <a:lstStyle/>
              <a:p>
                <a:pPr algn="ctr">
                  <a:lnSpc>
                    <a:spcPts val="800"/>
                  </a:lnSpc>
                </a:pPr>
                <a:r>
                  <a:rPr lang="ru-RU" sz="933" b="1" spc="-80" dirty="0" err="1"/>
                  <a:t>Стратегич</a:t>
                </a:r>
                <a:r>
                  <a:rPr lang="ru-RU" sz="933" b="1" spc="-80" dirty="0"/>
                  <a:t>. приоритеты</a:t>
                </a:r>
              </a:p>
            </p:txBody>
          </p:sp>
          <p:sp>
            <p:nvSpPr>
              <p:cNvPr id="165" name="Rectangle 164"/>
              <p:cNvSpPr/>
              <p:nvPr/>
            </p:nvSpPr>
            <p:spPr>
              <a:xfrm>
                <a:off x="389340" y="1902032"/>
                <a:ext cx="2742423" cy="583548"/>
              </a:xfrm>
              <a:prstGeom prst="rect">
                <a:avLst/>
              </a:prstGeom>
              <a:solidFill>
                <a:srgbClr val="E68F95"/>
              </a:solidFill>
              <a:ln w="12700">
                <a:solidFill>
                  <a:srgbClr val="CD202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r>
                  <a:rPr lang="ru-RU" sz="1200" b="1" dirty="0">
                    <a:solidFill>
                      <a:schemeClr val="tx1"/>
                    </a:solidFill>
                  </a:rPr>
                  <a:t>Расширить охват профилактическими мероприятиями </a:t>
                </a:r>
              </a:p>
            </p:txBody>
          </p:sp>
          <p:sp>
            <p:nvSpPr>
              <p:cNvPr id="166" name="Rectangle 165"/>
              <p:cNvSpPr/>
              <p:nvPr/>
            </p:nvSpPr>
            <p:spPr>
              <a:xfrm>
                <a:off x="3205467" y="1898565"/>
                <a:ext cx="993229" cy="589036"/>
              </a:xfrm>
              <a:prstGeom prst="rect">
                <a:avLst/>
              </a:prstGeom>
              <a:solidFill>
                <a:srgbClr val="E68F95"/>
              </a:solidFill>
              <a:ln w="12700">
                <a:solidFill>
                  <a:srgbClr val="CD202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1067"/>
                  </a:lnSpc>
                </a:pPr>
                <a:r>
                  <a:rPr lang="ru-RU" sz="1133" b="1" dirty="0">
                    <a:solidFill>
                      <a:schemeClr val="tx1"/>
                    </a:solidFill>
                  </a:rPr>
                  <a:t>Активно содействовать выявлению ВИЧ</a:t>
                </a:r>
              </a:p>
            </p:txBody>
          </p:sp>
          <p:sp>
            <p:nvSpPr>
              <p:cNvPr id="167" name="Rectangle 166"/>
              <p:cNvSpPr/>
              <p:nvPr/>
            </p:nvSpPr>
            <p:spPr>
              <a:xfrm>
                <a:off x="4244649" y="1903407"/>
                <a:ext cx="1005840" cy="589036"/>
              </a:xfrm>
              <a:prstGeom prst="rect">
                <a:avLst/>
              </a:prstGeom>
              <a:solidFill>
                <a:srgbClr val="E68F95"/>
              </a:solidFill>
              <a:ln w="12700">
                <a:solidFill>
                  <a:srgbClr val="CD202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933"/>
                  </a:lnSpc>
                </a:pPr>
                <a:r>
                  <a:rPr lang="ru-RU" sz="1067" b="1" dirty="0">
                    <a:solidFill>
                      <a:schemeClr val="tx1"/>
                    </a:solidFill>
                  </a:rPr>
                  <a:t>Быстро расширить охват АРТ гарантирован-</a:t>
                </a:r>
                <a:r>
                  <a:rPr lang="ru-RU" sz="1067" b="1" dirty="0" err="1">
                    <a:solidFill>
                      <a:schemeClr val="tx1"/>
                    </a:solidFill>
                  </a:rPr>
                  <a:t>ного</a:t>
                </a:r>
                <a:r>
                  <a:rPr lang="ru-RU" sz="1067" b="1" dirty="0">
                    <a:solidFill>
                      <a:schemeClr val="tx1"/>
                    </a:solidFill>
                  </a:rPr>
                  <a:t> качества</a:t>
                </a:r>
              </a:p>
            </p:txBody>
          </p:sp>
          <p:sp>
            <p:nvSpPr>
              <p:cNvPr id="168" name="Rectangle 167"/>
              <p:cNvSpPr/>
              <p:nvPr/>
            </p:nvSpPr>
            <p:spPr>
              <a:xfrm>
                <a:off x="5295643" y="1898565"/>
                <a:ext cx="914400" cy="589036"/>
              </a:xfrm>
              <a:prstGeom prst="rect">
                <a:avLst/>
              </a:prstGeom>
              <a:solidFill>
                <a:srgbClr val="E68F95"/>
              </a:solidFill>
              <a:ln w="12700">
                <a:solidFill>
                  <a:srgbClr val="CD202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r>
                  <a:rPr lang="ru-RU" sz="1200" b="1" dirty="0">
                    <a:solidFill>
                      <a:schemeClr val="tx1"/>
                    </a:solidFill>
                  </a:rPr>
                  <a:t>Продолжать повышать качество лечения </a:t>
                </a:r>
              </a:p>
            </p:txBody>
          </p:sp>
        </p:grpSp>
      </p:grpSp>
      <p:sp>
        <p:nvSpPr>
          <p:cNvPr id="175" name="Right Brace 174"/>
          <p:cNvSpPr/>
          <p:nvPr/>
        </p:nvSpPr>
        <p:spPr>
          <a:xfrm rot="16200000">
            <a:off x="2343510" y="2170673"/>
            <a:ext cx="109180" cy="2456155"/>
          </a:xfrm>
          <a:prstGeom prst="rightBrace">
            <a:avLst/>
          </a:prstGeom>
          <a:ln w="9525" cap="rnd">
            <a:solidFill>
              <a:srgbClr val="CD202C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ru-RU" sz="2400"/>
          </a:p>
        </p:txBody>
      </p:sp>
      <p:sp>
        <p:nvSpPr>
          <p:cNvPr id="178" name="Right Brace 177"/>
          <p:cNvSpPr/>
          <p:nvPr/>
        </p:nvSpPr>
        <p:spPr>
          <a:xfrm rot="16200000">
            <a:off x="6279293" y="1131810"/>
            <a:ext cx="95153" cy="2687063"/>
          </a:xfrm>
          <a:prstGeom prst="rightBrace">
            <a:avLst/>
          </a:prstGeom>
          <a:ln w="9525" cap="rnd">
            <a:solidFill>
              <a:srgbClr val="CD202C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ru-RU" sz="2400"/>
          </a:p>
        </p:txBody>
      </p:sp>
      <p:grpSp>
        <p:nvGrpSpPr>
          <p:cNvPr id="11" name="Group 10"/>
          <p:cNvGrpSpPr/>
          <p:nvPr/>
        </p:nvGrpSpPr>
        <p:grpSpPr>
          <a:xfrm>
            <a:off x="40033" y="3443311"/>
            <a:ext cx="12075768" cy="2199291"/>
            <a:chOff x="30025" y="2582483"/>
            <a:chExt cx="9056826" cy="1649468"/>
          </a:xfrm>
        </p:grpSpPr>
        <p:cxnSp>
          <p:nvCxnSpPr>
            <p:cNvPr id="182" name="Straight Connector 181"/>
            <p:cNvCxnSpPr/>
            <p:nvPr/>
          </p:nvCxnSpPr>
          <p:spPr>
            <a:xfrm flipV="1">
              <a:off x="5632159" y="2667868"/>
              <a:ext cx="0" cy="914400"/>
            </a:xfrm>
            <a:prstGeom prst="line">
              <a:avLst/>
            </a:prstGeom>
            <a:ln w="12700">
              <a:solidFill>
                <a:srgbClr val="CD202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 flipV="1">
              <a:off x="4692738" y="2655392"/>
              <a:ext cx="0" cy="914400"/>
            </a:xfrm>
            <a:prstGeom prst="line">
              <a:avLst/>
            </a:prstGeom>
            <a:ln w="12700">
              <a:solidFill>
                <a:srgbClr val="CD202C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Rectangle 128"/>
            <p:cNvSpPr/>
            <p:nvPr/>
          </p:nvSpPr>
          <p:spPr>
            <a:xfrm>
              <a:off x="30025" y="2594052"/>
              <a:ext cx="288650" cy="1622410"/>
            </a:xfrm>
            <a:prstGeom prst="rect">
              <a:avLst/>
            </a:prstGeom>
            <a:ln w="12700">
              <a:solidFill>
                <a:srgbClr val="CD202C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vert270" rtlCol="0" anchor="ctr"/>
            <a:lstStyle/>
            <a:p>
              <a:pPr algn="ctr" rtl="0"/>
              <a:r>
                <a:rPr lang="ru-RU" sz="1067" b="1" dirty="0"/>
                <a:t>Приоритетные мероприятия</a:t>
              </a: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2290158" y="2595724"/>
              <a:ext cx="841605" cy="10515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933" dirty="0">
                  <a:solidFill>
                    <a:schemeClr val="tx1"/>
                  </a:solidFill>
                </a:rPr>
                <a:t>Поощрять усилия стран по ликвидации и </a:t>
              </a:r>
              <a:r>
                <a:rPr lang="ru-RU" sz="933" spc="-107" dirty="0">
                  <a:solidFill>
                    <a:schemeClr val="tx1"/>
                  </a:solidFill>
                </a:rPr>
                <a:t>подтверждению</a:t>
              </a:r>
              <a:r>
                <a:rPr lang="ru-RU" sz="933" dirty="0">
                  <a:solidFill>
                    <a:schemeClr val="tx1"/>
                  </a:solidFill>
                </a:rPr>
                <a:t> ликвидации ППМ   </a:t>
              </a: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400958" y="2608109"/>
              <a:ext cx="903691" cy="10515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8827">
                <a:lnSpc>
                  <a:spcPts val="933"/>
                </a:lnSpc>
              </a:pPr>
              <a:r>
                <a:rPr lang="ru-RU" sz="667" dirty="0">
                  <a:solidFill>
                    <a:schemeClr val="tx1"/>
                  </a:solidFill>
                </a:rPr>
                <a:t>Значительно расширить </a:t>
              </a:r>
              <a:r>
                <a:rPr lang="ru-RU" sz="6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охват инновационными </a:t>
              </a:r>
              <a:r>
                <a:rPr lang="ru-RU" sz="667" dirty="0" err="1">
                  <a:solidFill>
                    <a:schemeClr val="tx1"/>
                  </a:solidFill>
                  <a:highlight>
                    <a:srgbClr val="FFFF00"/>
                  </a:highlight>
                </a:rPr>
                <a:t>профилактич</a:t>
              </a:r>
              <a:r>
                <a:rPr lang="ru-RU" sz="6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. мероприятиями</a:t>
              </a:r>
              <a:r>
                <a:rPr lang="ru-RU" sz="667" dirty="0">
                  <a:solidFill>
                    <a:schemeClr val="tx1"/>
                  </a:solidFill>
                </a:rPr>
                <a:t>, </a:t>
              </a:r>
              <a:r>
                <a:rPr lang="ru-RU" sz="667" dirty="0" err="1">
                  <a:solidFill>
                    <a:schemeClr val="tx1"/>
                  </a:solidFill>
                </a:rPr>
                <a:t>приоритизируя</a:t>
              </a:r>
              <a:r>
                <a:rPr lang="ru-RU" sz="667" spc="-67" dirty="0">
                  <a:solidFill>
                    <a:schemeClr val="tx1"/>
                  </a:solidFill>
                </a:rPr>
                <a:t> </a:t>
              </a:r>
              <a:r>
                <a:rPr lang="ru-RU" sz="6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ключевые группы населения и их </a:t>
              </a:r>
              <a:r>
                <a:rPr lang="ru-RU" sz="667" spc="-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подгруппы, несущие </a:t>
              </a:r>
              <a:r>
                <a:rPr lang="ru-RU" sz="6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наибольшие </a:t>
              </a:r>
              <a:r>
                <a:rPr lang="ru-RU" sz="667" dirty="0" err="1">
                  <a:solidFill>
                    <a:schemeClr val="tx1"/>
                  </a:solidFill>
                  <a:highlight>
                    <a:srgbClr val="FFFF00"/>
                  </a:highlight>
                </a:rPr>
                <a:t>эпидемиологич</a:t>
              </a:r>
              <a:r>
                <a:rPr lang="ru-RU" sz="6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. бремя</a:t>
              </a:r>
              <a:endParaRPr lang="ru-RU" sz="667" dirty="0">
                <a:solidFill>
                  <a:schemeClr val="tx1"/>
                </a:solidFill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4246660" y="3281524"/>
              <a:ext cx="914400" cy="3657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sz="1067" dirty="0">
                <a:solidFill>
                  <a:schemeClr val="tx1"/>
                </a:solidFill>
              </a:endParaRP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5201788" y="3281471"/>
              <a:ext cx="1004537" cy="3657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sz="933" dirty="0">
                <a:solidFill>
                  <a:schemeClr val="tx1"/>
                </a:solidFill>
              </a:endParaRP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3205467" y="2594052"/>
              <a:ext cx="988675" cy="10515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sz="1067" dirty="0">
                <a:solidFill>
                  <a:schemeClr val="tx1"/>
                </a:solidFill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4243859" y="2592407"/>
              <a:ext cx="1966184" cy="3657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933"/>
                </a:lnSpc>
              </a:pPr>
              <a:r>
                <a:rPr lang="ru-RU" sz="933" dirty="0">
                  <a:solidFill>
                    <a:schemeClr val="tx1"/>
                  </a:solidFill>
                </a:rPr>
                <a:t>Обеспечить доступ к АРВ-препаратам гарантированного качества и мониторинг лечения в соответствии с рекомендациями ВОЗ </a:t>
              </a:r>
              <a:endParaRPr lang="ru-RU" sz="933" dirty="0">
                <a:solidFill>
                  <a:srgbClr val="FF0000"/>
                </a:solidFill>
              </a:endParaRP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1334800" y="2598121"/>
              <a:ext cx="914400" cy="105156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sz="1067" dirty="0">
                <a:solidFill>
                  <a:schemeClr val="tx1"/>
                </a:solidFill>
              </a:endParaRP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4246660" y="2999511"/>
              <a:ext cx="1963383" cy="23774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150280"/>
              <a:endParaRPr lang="ru-RU" sz="1067" dirty="0">
                <a:solidFill>
                  <a:schemeClr val="tx1"/>
                </a:solidFill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6343650" y="3119524"/>
              <a:ext cx="2743200" cy="54014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ts val="800"/>
                </a:lnSpc>
              </a:pPr>
              <a:r>
                <a:rPr lang="ru-RU" sz="1067" dirty="0">
                  <a:solidFill>
                    <a:schemeClr val="tx1"/>
                  </a:solidFill>
                </a:rPr>
                <a:t>Поддерживать </a:t>
              </a:r>
              <a:r>
                <a:rPr lang="ru-RU" sz="1067" dirty="0" err="1">
                  <a:solidFill>
                    <a:schemeClr val="tx1"/>
                  </a:solidFill>
                  <a:highlight>
                    <a:srgbClr val="FFFF00"/>
                  </a:highlight>
                </a:rPr>
                <a:t>адвокационную</a:t>
              </a:r>
              <a:r>
                <a:rPr lang="ru-RU" sz="10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 деятельность в области изменения политики и выделения бюджетных средств, </a:t>
              </a:r>
              <a:r>
                <a:rPr lang="ru-RU" sz="1067" dirty="0">
                  <a:solidFill>
                    <a:schemeClr val="tx1"/>
                  </a:solidFill>
                </a:rPr>
                <a:t>а также </a:t>
              </a:r>
            </a:p>
            <a:p>
              <a:pPr algn="ctr">
                <a:lnSpc>
                  <a:spcPts val="800"/>
                </a:lnSpc>
              </a:pPr>
              <a:r>
                <a:rPr lang="ru-RU" sz="10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мероприятия, направленные на устранение барьеров в области прав человека и </a:t>
              </a:r>
            </a:p>
            <a:p>
              <a:pPr algn="ctr">
                <a:lnSpc>
                  <a:spcPts val="800"/>
                </a:lnSpc>
              </a:pPr>
              <a:r>
                <a:rPr lang="ru-RU" sz="10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нормативных барьеров</a:t>
              </a:r>
              <a:r>
                <a:rPr lang="ru-RU" sz="1067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6343650" y="3701508"/>
              <a:ext cx="2743200" cy="51495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1067" dirty="0">
                  <a:solidFill>
                    <a:schemeClr val="tx1"/>
                  </a:solidFill>
                </a:rPr>
                <a:t>Содействовать </a:t>
              </a:r>
              <a:r>
                <a:rPr lang="ru-RU" sz="10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участию сообществ </a:t>
              </a:r>
              <a:r>
                <a:rPr lang="ru-RU" sz="1067" dirty="0">
                  <a:solidFill>
                    <a:schemeClr val="tx1"/>
                  </a:solidFill>
                </a:rPr>
                <a:t>в предоставлении услуг, а также в мероприятиях по борьбе со стигматизацией и дискриминацией</a:t>
              </a: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396757" y="3959408"/>
              <a:ext cx="5813286" cy="27254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1067" dirty="0">
                  <a:solidFill>
                    <a:schemeClr val="tx1"/>
                  </a:solidFill>
                </a:rPr>
                <a:t>Создать устойчивые, </a:t>
              </a:r>
              <a:r>
                <a:rPr lang="ru-RU" sz="10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конфиденциальные</a:t>
              </a:r>
              <a:r>
                <a:rPr lang="ru-RU" sz="1067" dirty="0">
                  <a:solidFill>
                    <a:schemeClr val="tx1"/>
                  </a:solidFill>
                </a:rPr>
                <a:t> и надежные системы для отслеживания данных о ВИЧ среди </a:t>
              </a:r>
              <a:br>
                <a:rPr lang="ru-RU" sz="1067" dirty="0">
                  <a:solidFill>
                    <a:schemeClr val="tx1"/>
                  </a:solidFill>
                </a:rPr>
              </a:br>
              <a:r>
                <a:rPr lang="ru-RU" sz="1067" dirty="0">
                  <a:solidFill>
                    <a:schemeClr val="tx1"/>
                  </a:solidFill>
                </a:rPr>
                <a:t>ключевых групп населения</a:t>
              </a: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6343651" y="2598121"/>
              <a:ext cx="2743200" cy="48463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 sz="1067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5763948" y="4106050"/>
              <a:ext cx="446095" cy="123068"/>
            </a:xfrm>
            <a:prstGeom prst="rect">
              <a:avLst/>
            </a:prstGeom>
            <a:solidFill>
              <a:srgbClr val="00AE3A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800" dirty="0">
                  <a:solidFill>
                    <a:schemeClr val="bg1"/>
                  </a:solidFill>
                </a:rPr>
                <a:t>ЖУССЗ</a:t>
              </a: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6363830" y="2625534"/>
              <a:ext cx="2383414" cy="41148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ru-RU" sz="1067" dirty="0">
                  <a:solidFill>
                    <a:schemeClr val="tx1"/>
                  </a:solidFill>
                </a:rPr>
                <a:t>Расширить доступ к услугам с помощью </a:t>
              </a:r>
              <a:r>
                <a:rPr lang="ru-RU" sz="10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мер</a:t>
              </a:r>
            </a:p>
            <a:p>
              <a:pPr algn="ctr" rtl="0"/>
              <a:r>
                <a:rPr lang="ru-RU" sz="10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 по борьбе со стигматизирующим отношением </a:t>
              </a:r>
            </a:p>
            <a:p>
              <a:pPr algn="ctr" rtl="0"/>
              <a:r>
                <a:rPr lang="ru-RU" sz="1067" dirty="0">
                  <a:solidFill>
                    <a:schemeClr val="tx1"/>
                  </a:solidFill>
                  <a:highlight>
                    <a:srgbClr val="FFFF00"/>
                  </a:highlight>
                </a:rPr>
                <a:t>и поведением в медицинских учреждениях </a:t>
              </a: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8651797" y="2959498"/>
              <a:ext cx="429860" cy="120942"/>
            </a:xfrm>
            <a:prstGeom prst="rect">
              <a:avLst/>
            </a:prstGeom>
            <a:solidFill>
              <a:srgbClr val="00AE3A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800" dirty="0">
                  <a:solidFill>
                    <a:schemeClr val="bg1"/>
                  </a:solidFill>
                </a:rPr>
                <a:t>ЖУССЗ</a:t>
              </a:r>
            </a:p>
          </p:txBody>
        </p:sp>
        <p:sp>
          <p:nvSpPr>
            <p:cNvPr id="151" name="Rectangle 150"/>
            <p:cNvSpPr/>
            <p:nvPr/>
          </p:nvSpPr>
          <p:spPr>
            <a:xfrm>
              <a:off x="3752688" y="3514804"/>
              <a:ext cx="440843" cy="126979"/>
            </a:xfrm>
            <a:prstGeom prst="rect">
              <a:avLst/>
            </a:prstGeom>
            <a:solidFill>
              <a:srgbClr val="00AE3A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800" dirty="0">
                  <a:solidFill>
                    <a:schemeClr val="bg1"/>
                  </a:solidFill>
                </a:rPr>
                <a:t>ЖУССЗ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1260008" y="2618162"/>
              <a:ext cx="1074791" cy="101763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ru-RU" sz="933" dirty="0">
                  <a:solidFill>
                    <a:schemeClr val="tx1"/>
                  </a:solidFill>
                </a:rPr>
                <a:t>Быстро расширить существующие пилотные проекты по ДКП (в Украине и Грузии) и способствовать внедрению ДКП в других странах, особенно среди МСМ 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4179486" y="3275696"/>
              <a:ext cx="1033478" cy="37608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800"/>
                </a:lnSpc>
              </a:pPr>
              <a:r>
                <a:rPr lang="ru-RU" sz="933" dirty="0">
                  <a:solidFill>
                    <a:schemeClr val="tx1"/>
                  </a:solidFill>
                </a:rPr>
                <a:t>Содействовать ведению пациентов на этапе постановки диагноза </a:t>
              </a:r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5664839" y="3587053"/>
              <a:ext cx="539296" cy="88726"/>
            </a:xfrm>
            <a:prstGeom prst="rect">
              <a:avLst/>
            </a:prstGeom>
            <a:solidFill>
              <a:srgbClr val="00AE3A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667" dirty="0">
                  <a:solidFill>
                    <a:schemeClr val="bg1"/>
                  </a:solidFill>
                </a:rPr>
                <a:t>ЖУССЗ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232451" y="3258229"/>
              <a:ext cx="837551" cy="349029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800"/>
                </a:lnSpc>
              </a:pPr>
              <a:r>
                <a:rPr lang="ru-RU" sz="667" spc="-40" dirty="0">
                  <a:solidFill>
                    <a:schemeClr val="tx1"/>
                  </a:solidFill>
                </a:rPr>
                <a:t>Улучшить лабораторные </a:t>
              </a:r>
              <a:br>
                <a:rPr lang="ru-RU" sz="667" spc="-40" dirty="0">
                  <a:solidFill>
                    <a:schemeClr val="tx1"/>
                  </a:solidFill>
                </a:rPr>
              </a:br>
              <a:r>
                <a:rPr lang="ru-RU" sz="667" spc="-40" dirty="0">
                  <a:solidFill>
                    <a:schemeClr val="tx1"/>
                  </a:solidFill>
                </a:rPr>
                <a:t>возможности </a:t>
              </a:r>
              <a:r>
                <a:rPr lang="ru-RU" sz="667" dirty="0">
                  <a:solidFill>
                    <a:schemeClr val="tx1"/>
                  </a:solidFill>
                </a:rPr>
                <a:t>для </a:t>
              </a:r>
              <a:br>
                <a:rPr lang="ru-RU" sz="667" dirty="0">
                  <a:solidFill>
                    <a:schemeClr val="tx1"/>
                  </a:solidFill>
                </a:rPr>
              </a:br>
              <a:r>
                <a:rPr lang="ru-RU" sz="667" dirty="0">
                  <a:solidFill>
                    <a:schemeClr val="tx1"/>
                  </a:solidFill>
                </a:rPr>
                <a:t>тестирования </a:t>
              </a:r>
            </a:p>
            <a:p>
              <a:pPr>
                <a:lnSpc>
                  <a:spcPts val="800"/>
                </a:lnSpc>
              </a:pPr>
              <a:r>
                <a:rPr lang="ru-RU" sz="667" spc="-40" dirty="0">
                  <a:solidFill>
                    <a:schemeClr val="tx1"/>
                  </a:solidFill>
                </a:rPr>
                <a:t>на вирусную нагрузку</a:t>
              </a:r>
            </a:p>
          </p:txBody>
        </p:sp>
        <p:sp>
          <p:nvSpPr>
            <p:cNvPr id="177" name="Rectangle 176"/>
            <p:cNvSpPr/>
            <p:nvPr/>
          </p:nvSpPr>
          <p:spPr>
            <a:xfrm>
              <a:off x="5763948" y="3114363"/>
              <a:ext cx="444626" cy="124555"/>
            </a:xfrm>
            <a:prstGeom prst="rect">
              <a:avLst/>
            </a:prstGeom>
            <a:solidFill>
              <a:srgbClr val="00AE3A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800" dirty="0">
                  <a:solidFill>
                    <a:schemeClr val="bg1"/>
                  </a:solidFill>
                </a:rPr>
                <a:t>ЖУССЗ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679790" y="3051202"/>
              <a:ext cx="853861" cy="12288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r>
                <a:rPr lang="ru-RU" sz="933" dirty="0">
                  <a:solidFill>
                    <a:srgbClr val="575757"/>
                  </a:solidFill>
                </a:rPr>
                <a:t>Повысить качество лечения и ведения </a:t>
              </a:r>
              <a:br>
                <a:rPr lang="ru-RU" sz="933" dirty="0">
                  <a:solidFill>
                    <a:srgbClr val="575757"/>
                  </a:solidFill>
                </a:rPr>
              </a:br>
              <a:r>
                <a:rPr lang="ru-RU" sz="933" dirty="0">
                  <a:solidFill>
                    <a:srgbClr val="575757"/>
                  </a:solidFill>
                </a:rPr>
                <a:t>сопутствующих заболеваний</a:t>
              </a:r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8632649" y="3502992"/>
              <a:ext cx="449008" cy="150451"/>
            </a:xfrm>
            <a:prstGeom prst="rect">
              <a:avLst/>
            </a:prstGeom>
            <a:solidFill>
              <a:srgbClr val="00AE3A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800" dirty="0">
                  <a:solidFill>
                    <a:schemeClr val="bg1"/>
                  </a:solidFill>
                </a:rPr>
                <a:t>ЖУССЗ</a:t>
              </a: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28674" y="2582483"/>
              <a:ext cx="1112189" cy="103411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ts val="667"/>
                </a:lnSpc>
              </a:pPr>
              <a:r>
                <a:rPr lang="ru-RU" sz="867" dirty="0">
                  <a:solidFill>
                    <a:schemeClr val="tx1"/>
                  </a:solidFill>
                </a:rPr>
                <a:t>Продвигать инновационные подходы к тестированию, </a:t>
              </a:r>
              <a:r>
                <a:rPr lang="ru-RU" sz="867" dirty="0" err="1">
                  <a:solidFill>
                    <a:schemeClr val="tx1"/>
                  </a:solidFill>
                </a:rPr>
                <a:t>низкопороговые</a:t>
              </a:r>
              <a:r>
                <a:rPr lang="ru-RU" sz="867" dirty="0">
                  <a:solidFill>
                    <a:schemeClr val="tx1"/>
                  </a:solidFill>
                </a:rPr>
                <a:t> услуги по ДКТ, тестирование по инициативе медработников, тестирование на уровне сообществ и комплексное тестирование для повышения показателей </a:t>
              </a:r>
            </a:p>
            <a:p>
              <a:pPr indent="230712">
                <a:lnSpc>
                  <a:spcPts val="667"/>
                </a:lnSpc>
              </a:pPr>
              <a:r>
                <a:rPr lang="ru-RU" sz="867" dirty="0">
                  <a:solidFill>
                    <a:schemeClr val="tx1"/>
                  </a:solidFill>
                </a:rPr>
                <a:t>охвата </a:t>
              </a:r>
            </a:p>
          </p:txBody>
        </p:sp>
      </p:grpSp>
      <p:sp>
        <p:nvSpPr>
          <p:cNvPr id="183" name="Right Brace 182"/>
          <p:cNvSpPr/>
          <p:nvPr/>
        </p:nvSpPr>
        <p:spPr>
          <a:xfrm rot="5400000">
            <a:off x="6944389" y="2673705"/>
            <a:ext cx="112523" cy="1433031"/>
          </a:xfrm>
          <a:prstGeom prst="rightBrace">
            <a:avLst/>
          </a:prstGeom>
          <a:ln w="9525" cap="rnd">
            <a:solidFill>
              <a:srgbClr val="CD202C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ru-RU" sz="2400"/>
          </a:p>
        </p:txBody>
      </p:sp>
      <p:grpSp>
        <p:nvGrpSpPr>
          <p:cNvPr id="10" name="Group 9"/>
          <p:cNvGrpSpPr/>
          <p:nvPr/>
        </p:nvGrpSpPr>
        <p:grpSpPr>
          <a:xfrm>
            <a:off x="52056" y="477250"/>
            <a:ext cx="12070701" cy="1927661"/>
            <a:chOff x="39042" y="357937"/>
            <a:chExt cx="9053026" cy="1445746"/>
          </a:xfrm>
        </p:grpSpPr>
        <p:sp>
          <p:nvSpPr>
            <p:cNvPr id="156" name="Rectangle 155"/>
            <p:cNvSpPr/>
            <p:nvPr/>
          </p:nvSpPr>
          <p:spPr>
            <a:xfrm>
              <a:off x="6335773" y="1483411"/>
              <a:ext cx="2743200" cy="31611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D202C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r>
                <a:rPr lang="ru-RU" sz="1400" b="1" dirty="0">
                  <a:solidFill>
                    <a:schemeClr val="tx1"/>
                  </a:solidFill>
                </a:rPr>
                <a:t>Отсутствие дискриминации</a:t>
              </a: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39042" y="357937"/>
              <a:ext cx="9053026" cy="1445746"/>
              <a:chOff x="39042" y="357937"/>
              <a:chExt cx="9053026" cy="1445746"/>
            </a:xfrm>
          </p:grpSpPr>
          <p:sp>
            <p:nvSpPr>
              <p:cNvPr id="155" name="Content Placeholder 2"/>
              <p:cNvSpPr txBox="1">
                <a:spLocks/>
              </p:cNvSpPr>
              <p:nvPr/>
            </p:nvSpPr>
            <p:spPr>
              <a:xfrm>
                <a:off x="44260" y="357937"/>
                <a:ext cx="9047808" cy="270317"/>
              </a:xfrm>
              <a:prstGeom prst="rect">
                <a:avLst/>
              </a:prstGeom>
              <a:solidFill>
                <a:srgbClr val="CD202C"/>
              </a:solidFill>
              <a:ln w="12700">
                <a:solidFill>
                  <a:srgbClr val="CD202C"/>
                </a:solidFill>
              </a:ln>
            </p:spPr>
            <p:txBody>
              <a:bodyPr vert="horz" lIns="0" tIns="0" rIns="0" bIns="60960" rtlCol="0" anchor="ctr">
                <a:normAutofit/>
              </a:bodyPr>
              <a:lstStyle>
                <a:lvl1pPr marL="0" indent="0" algn="l" defTabSz="457200" rtl="0" eaLnBrk="1" latinLnBrk="0" hangingPunct="1">
                  <a:lnSpc>
                    <a:spcPts val="1900"/>
                  </a:lnSpc>
                  <a:spcBef>
                    <a:spcPts val="0"/>
                  </a:spcBef>
                  <a:buFontTx/>
                  <a:buNone/>
                  <a:defRPr sz="1800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0" indent="0" algn="l" defTabSz="457200" rtl="0" eaLnBrk="1" latinLnBrk="0" hangingPunct="1">
                  <a:lnSpc>
                    <a:spcPts val="1900"/>
                  </a:lnSpc>
                  <a:spcBef>
                    <a:spcPts val="0"/>
                  </a:spcBef>
                  <a:buFontTx/>
                  <a:buNone/>
                  <a:defRPr sz="1800" kern="120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defRPr>
                </a:lvl2pPr>
                <a:lvl3pPr marL="0" indent="0" algn="l" defTabSz="457200" rtl="0" eaLnBrk="1" latinLnBrk="0" hangingPunct="1">
                  <a:lnSpc>
                    <a:spcPts val="1700"/>
                  </a:lnSpc>
                  <a:spcBef>
                    <a:spcPts val="0"/>
                  </a:spcBef>
                  <a:buFontTx/>
                  <a:buNone/>
                  <a:defRPr sz="1600" kern="1200" baseline="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262800" indent="-136800" algn="l" defTabSz="457200" rtl="0" eaLnBrk="1" latinLnBrk="0" hangingPunct="1">
                  <a:spcBef>
                    <a:spcPts val="0"/>
                  </a:spcBef>
                  <a:buFont typeface="Lucida Grande"/>
                  <a:buChar char="&gt;"/>
                  <a:defRPr sz="1600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defRPr>
                </a:lvl4pPr>
                <a:lvl5pPr marL="457200" indent="-136800" algn="l" defTabSz="457200" rtl="0" eaLnBrk="1" latinLnBrk="0" hangingPunct="1">
                  <a:lnSpc>
                    <a:spcPts val="1400"/>
                  </a:lnSpc>
                  <a:spcBef>
                    <a:spcPts val="0"/>
                  </a:spcBef>
                  <a:buFont typeface="Arial"/>
                  <a:buChar char="–"/>
                  <a:defRPr sz="1200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2" algn="ctr" rtl="0"/>
                <a:r>
                  <a:rPr lang="ru-RU" sz="2000" b="1" dirty="0">
                    <a:solidFill>
                      <a:schemeClr val="bg1"/>
                    </a:solidFill>
                  </a:rPr>
                  <a:t>Стратегические приоритеты для региона ВЕЦА – ВИЧ/СПИД, 2020–2022 гг.</a:t>
                </a:r>
              </a:p>
            </p:txBody>
          </p:sp>
          <p:sp>
            <p:nvSpPr>
              <p:cNvPr id="158" name="Rectangle 157"/>
              <p:cNvSpPr/>
              <p:nvPr/>
            </p:nvSpPr>
            <p:spPr>
              <a:xfrm>
                <a:off x="388563" y="1483744"/>
                <a:ext cx="2743200" cy="317219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D202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r>
                  <a:rPr lang="ru-RU" sz="1400" b="1" dirty="0">
                    <a:solidFill>
                      <a:schemeClr val="tx1"/>
                    </a:solidFill>
                  </a:rPr>
                  <a:t>Сокращение распространенности ВИЧ на 90% по сравнению с 2010 г.</a:t>
                </a:r>
              </a:p>
            </p:txBody>
          </p:sp>
          <p:sp>
            <p:nvSpPr>
              <p:cNvPr id="159" name="Rectangle 158"/>
              <p:cNvSpPr/>
              <p:nvPr/>
            </p:nvSpPr>
            <p:spPr>
              <a:xfrm>
                <a:off x="389340" y="691208"/>
                <a:ext cx="8697512" cy="396249"/>
              </a:xfrm>
              <a:prstGeom prst="rect">
                <a:avLst/>
              </a:prstGeom>
              <a:solidFill>
                <a:srgbClr val="CD202C"/>
              </a:solidFill>
              <a:ln w="12700">
                <a:solidFill>
                  <a:srgbClr val="CD202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r>
                  <a:rPr lang="ru-RU" sz="1600" b="1" dirty="0">
                    <a:solidFill>
                      <a:schemeClr val="bg1"/>
                    </a:solidFill>
                  </a:rPr>
                  <a:t>Внести значительный и устойчивый вклад в стабилизацию и снижение заболеваемости ВИЧ и сократить смертность от ВИЧ в регионе </a:t>
                </a:r>
              </a:p>
            </p:txBody>
          </p:sp>
          <p:sp>
            <p:nvSpPr>
              <p:cNvPr id="160" name="Rectangle 159"/>
              <p:cNvSpPr/>
              <p:nvPr/>
            </p:nvSpPr>
            <p:spPr>
              <a:xfrm>
                <a:off x="3205467" y="1483643"/>
                <a:ext cx="2997977" cy="32004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D202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r>
                  <a:rPr lang="ru-RU" sz="1400" b="1" dirty="0">
                    <a:solidFill>
                      <a:schemeClr val="tx1"/>
                    </a:solidFill>
                  </a:rPr>
                  <a:t>Лечение в рамках целевого показателя </a:t>
                </a:r>
                <a:r>
                  <a:rPr lang="fr-CH" sz="1400" b="1" dirty="0">
                    <a:solidFill>
                      <a:schemeClr val="tx1"/>
                    </a:solidFill>
                  </a:rPr>
                  <a:t> </a:t>
                </a:r>
                <a:r>
                  <a:rPr lang="ru-RU" sz="1400" b="1" dirty="0">
                    <a:solidFill>
                      <a:schemeClr val="tx1"/>
                    </a:solidFill>
                  </a:rPr>
                  <a:t>90 - 90 - 90</a:t>
                </a:r>
              </a:p>
            </p:txBody>
          </p:sp>
          <p:sp>
            <p:nvSpPr>
              <p:cNvPr id="161" name="Rectangle 160"/>
              <p:cNvSpPr/>
              <p:nvPr/>
            </p:nvSpPr>
            <p:spPr>
              <a:xfrm>
                <a:off x="54063" y="1147194"/>
                <a:ext cx="284252" cy="647532"/>
              </a:xfrm>
              <a:prstGeom prst="rect">
                <a:avLst/>
              </a:prstGeom>
              <a:ln w="12700">
                <a:solidFill>
                  <a:srgbClr val="CD202C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vert270" rtlCol="0" anchor="ctr"/>
              <a:lstStyle/>
              <a:p>
                <a:pPr algn="ctr">
                  <a:lnSpc>
                    <a:spcPts val="933"/>
                  </a:lnSpc>
                </a:pPr>
                <a:r>
                  <a:rPr lang="ru-RU" sz="800" b="1" dirty="0"/>
                  <a:t>Ускорение мер борьбы с ВИЧ (2020 г.)</a:t>
                </a:r>
              </a:p>
            </p:txBody>
          </p:sp>
          <p:sp>
            <p:nvSpPr>
              <p:cNvPr id="162" name="Rectangle 161"/>
              <p:cNvSpPr/>
              <p:nvPr/>
            </p:nvSpPr>
            <p:spPr>
              <a:xfrm>
                <a:off x="39042" y="691208"/>
                <a:ext cx="284252" cy="396249"/>
              </a:xfrm>
              <a:prstGeom prst="rect">
                <a:avLst/>
              </a:prstGeom>
              <a:ln w="12700">
                <a:solidFill>
                  <a:srgbClr val="CD202C"/>
                </a:solidFill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vert270" rtlCol="0" anchor="ctr"/>
              <a:lstStyle/>
              <a:p>
                <a:pPr algn="ctr" rtl="0"/>
                <a:r>
                  <a:rPr lang="ru-RU" sz="933" b="1" dirty="0"/>
                  <a:t>Виде-</a:t>
                </a:r>
                <a:r>
                  <a:rPr lang="ru-RU" sz="933" b="1" dirty="0" err="1"/>
                  <a:t>ние</a:t>
                </a:r>
                <a:endParaRPr lang="ru-RU" sz="933" b="1" dirty="0"/>
              </a:p>
            </p:txBody>
          </p:sp>
          <p:sp>
            <p:nvSpPr>
              <p:cNvPr id="185" name="Rectangle 184"/>
              <p:cNvSpPr/>
              <p:nvPr/>
            </p:nvSpPr>
            <p:spPr>
              <a:xfrm>
                <a:off x="388563" y="1147193"/>
                <a:ext cx="8690410" cy="317219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D202C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r>
                  <a:rPr lang="ru-RU" sz="1600" b="1">
                    <a:solidFill>
                      <a:schemeClr val="tx1"/>
                    </a:solidFill>
                  </a:rPr>
                  <a:t>Способствовать достижению целей стратегии по ускорению мер в области борьбы против ВИЧ</a:t>
                </a:r>
              </a:p>
            </p:txBody>
          </p:sp>
        </p:grpSp>
      </p:grpSp>
      <p:sp>
        <p:nvSpPr>
          <p:cNvPr id="65" name="Rectangle 64"/>
          <p:cNvSpPr/>
          <p:nvPr/>
        </p:nvSpPr>
        <p:spPr>
          <a:xfrm>
            <a:off x="526300" y="4918068"/>
            <a:ext cx="7751048" cy="316099"/>
          </a:xfrm>
          <a:prstGeom prst="rect">
            <a:avLst/>
          </a:prstGeom>
          <a:solidFill>
            <a:schemeClr val="bg1"/>
          </a:solidFill>
          <a:ln w="12700">
            <a:solidFill>
              <a:srgbClr val="CD202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1067" dirty="0">
                <a:solidFill>
                  <a:schemeClr val="tx1"/>
                </a:solidFill>
              </a:rPr>
              <a:t>Укреплять внутренний потенциал для закупки по доступным ценам фармацевтических препаратов и других медицинских изделий гарантированного качества</a:t>
            </a:r>
          </a:p>
        </p:txBody>
      </p:sp>
      <p:sp>
        <p:nvSpPr>
          <p:cNvPr id="66" name="Rectangle 65"/>
          <p:cNvSpPr/>
          <p:nvPr/>
        </p:nvSpPr>
        <p:spPr>
          <a:xfrm>
            <a:off x="7670401" y="5059611"/>
            <a:ext cx="606948" cy="177027"/>
          </a:xfrm>
          <a:prstGeom prst="rect">
            <a:avLst/>
          </a:prstGeom>
          <a:solidFill>
            <a:srgbClr val="00AE3A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ru-RU" sz="800" dirty="0">
                <a:solidFill>
                  <a:schemeClr val="bg1"/>
                </a:solidFill>
              </a:rPr>
              <a:t>ЖУССЗ</a:t>
            </a:r>
          </a:p>
        </p:txBody>
      </p:sp>
    </p:spTree>
    <p:extLst>
      <p:ext uri="{BB962C8B-B14F-4D97-AF65-F5344CB8AC3E}">
        <p14:creationId xmlns:p14="http://schemas.microsoft.com/office/powerpoint/2010/main" val="17518723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427" y="215223"/>
            <a:ext cx="11548533" cy="632373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800" dirty="0" smtClean="0"/>
              <a:t>Модуль 12</a:t>
            </a:r>
            <a:r>
              <a:rPr lang="ru-RU" sz="2800" dirty="0"/>
              <a:t>. Снижение барьеров на пути к ВИЧ/ТБ, связанных с правами челове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08363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14427" y="1011380"/>
            <a:ext cx="11777388" cy="584661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/>
              <a:t>Устранение стигмы и дискриминации на всех уровнях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Создание </a:t>
            </a:r>
            <a:r>
              <a:rPr lang="ru-RU" dirty="0" err="1" smtClean="0"/>
              <a:t>межсекторальной</a:t>
            </a:r>
            <a:r>
              <a:rPr lang="ru-RU" dirty="0" smtClean="0"/>
              <a:t> рабочей группы по мониторингу исполнения </a:t>
            </a:r>
            <a:r>
              <a:rPr lang="ru-RU" dirty="0" err="1" smtClean="0"/>
              <a:t>межсекторального</a:t>
            </a:r>
            <a:r>
              <a:rPr lang="ru-RU" dirty="0" smtClean="0"/>
              <a:t> плана КР по преодолению </a:t>
            </a:r>
            <a:r>
              <a:rPr lang="ru-RU" dirty="0"/>
              <a:t>правовых барьеров. 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2 </a:t>
            </a:r>
            <a:r>
              <a:rPr lang="ru-RU" dirty="0"/>
              <a:t>национальных исследования Индекса стигмы среди ЛЖВ и ключевых групп населения, а также среди людей, живущих с ТБ, в 2025 году. </a:t>
            </a:r>
            <a:r>
              <a:rPr lang="ru-RU" dirty="0" smtClean="0"/>
              <a:t>Экспресс-оценка </a:t>
            </a:r>
            <a:r>
              <a:rPr lang="ru-RU" dirty="0"/>
              <a:t>нарушений прав на уровне учреждений, предоставляющих услуги в связи с ВИЧ и </a:t>
            </a:r>
            <a:r>
              <a:rPr lang="ru-RU" dirty="0" smtClean="0"/>
              <a:t>ТБ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Вовлечение института </a:t>
            </a:r>
            <a:r>
              <a:rPr lang="ru-RU" dirty="0" smtClean="0"/>
              <a:t>омбудсмена и </a:t>
            </a:r>
            <a:r>
              <a:rPr lang="ru-RU" dirty="0"/>
              <a:t>включение правовых барьеров в ежегодные и специальные отчеты Парламенту и Правительству КР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err="1"/>
              <a:t>Адвокация</a:t>
            </a:r>
            <a:r>
              <a:rPr lang="ru-RU" dirty="0"/>
              <a:t> национальных кампаний по ВИЧ и ТБ, с компонентами профилактики стигмы и дискриминации, гендерного </a:t>
            </a:r>
            <a:r>
              <a:rPr lang="ru-RU" dirty="0" smtClean="0"/>
              <a:t>насилия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Вовлечение представителей местных администраций, религиозных лидеров и журналистов в мероприятия по снижению стигмы и дискриминации в </a:t>
            </a:r>
            <a:r>
              <a:rPr lang="ru-RU" dirty="0" err="1" smtClean="0"/>
              <a:t>контекстве</a:t>
            </a:r>
            <a:r>
              <a:rPr lang="ru-RU" dirty="0" smtClean="0"/>
              <a:t> ВИЧ и ТБ.</a:t>
            </a:r>
          </a:p>
          <a:p>
            <a:r>
              <a:rPr lang="ru-RU" b="0" dirty="0"/>
              <a:t>Совершенствование законов, правил и политики в отношении ВИЧ, ТБ и ВИЧ/ТБ</a:t>
            </a:r>
            <a:endParaRPr lang="ru-RU" b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Мониторинг и участие в разработке и утверждении НПА и законов </a:t>
            </a:r>
            <a:r>
              <a:rPr lang="ru-RU" dirty="0"/>
              <a:t>в связи с ВИЧ и </a:t>
            </a:r>
            <a:r>
              <a:rPr lang="ru-RU" dirty="0" smtClean="0"/>
              <a:t>ТБ в рамках инвентаризации законодательства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Инициация принятия НПА по </a:t>
            </a:r>
            <a:r>
              <a:rPr lang="ru-RU" dirty="0"/>
              <a:t>обеспечению прав/декриминализации ключевых </a:t>
            </a:r>
            <a:r>
              <a:rPr lang="ru-RU" dirty="0" smtClean="0"/>
              <a:t>групп. </a:t>
            </a:r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727460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427" y="215223"/>
            <a:ext cx="11548533" cy="632373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800" dirty="0" smtClean="0"/>
              <a:t>Модуль 12</a:t>
            </a:r>
            <a:r>
              <a:rPr lang="ru-RU" sz="2800" dirty="0"/>
              <a:t>. Снижение барьеров на пути к ВИЧ/ТБ, связанных с правами челове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08363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14427" y="1011381"/>
            <a:ext cx="11777388" cy="576811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/>
              <a:t>Правовая грамотность ("Знай свои права")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учение </a:t>
            </a:r>
            <a:r>
              <a:rPr lang="ru-RU" dirty="0"/>
              <a:t>представителей НПО и государственных учреждений по недискриминационным подходам и правам </a:t>
            </a:r>
            <a:r>
              <a:rPr lang="ru-RU" dirty="0" smtClean="0"/>
              <a:t>человека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Участие ГО в процессах принятия решений на страновом и региональном уровнях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 Ф</a:t>
            </a:r>
            <a:r>
              <a:rPr lang="ru-RU" dirty="0" smtClean="0"/>
              <a:t>орумы </a:t>
            </a:r>
            <a:r>
              <a:rPr lang="ru-RU" dirty="0"/>
              <a:t>людей, живущих с ВИЧ и с ТБ, ключевых групп и национальные форумы </a:t>
            </a:r>
            <a:r>
              <a:rPr lang="ru-RU" dirty="0" smtClean="0"/>
              <a:t>НПО.</a:t>
            </a:r>
          </a:p>
          <a:p>
            <a:r>
              <a:rPr lang="ru-RU" b="0" dirty="0"/>
              <a:t>Обеспечение </a:t>
            </a:r>
            <a:r>
              <a:rPr lang="ru-RU" b="0" dirty="0" err="1"/>
              <a:t>недискриминации</a:t>
            </a:r>
            <a:r>
              <a:rPr lang="ru-RU" b="0" dirty="0"/>
              <a:t> при оказании медицинской помощи</a:t>
            </a:r>
            <a:endParaRPr lang="ru-RU" b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Анализ </a:t>
            </a:r>
            <a:r>
              <a:rPr lang="ru-RU" dirty="0"/>
              <a:t>обучающих программ медицинских вузов и последипломного обучения на предмет содержания этики и консультирования в отношении прав пациентов с ВИЧ и ТБ. 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Экспресс-оценка </a:t>
            </a:r>
            <a:r>
              <a:rPr lang="ru-RU" dirty="0"/>
              <a:t>уровня знаний и отношения к клиентам медицинских специалистов с акцентом на специалистов первичного уровня здравоохранения. 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Встречи </a:t>
            </a:r>
            <a:r>
              <a:rPr lang="ru-RU" dirty="0" err="1" smtClean="0"/>
              <a:t>мед.работников</a:t>
            </a:r>
            <a:r>
              <a:rPr lang="ru-RU" dirty="0" smtClean="0"/>
              <a:t> и сообществ для обсуждения механизмов </a:t>
            </a:r>
            <a:r>
              <a:rPr lang="ru-RU" dirty="0"/>
              <a:t>снижения стигмы и дискриминации при оказании помощи в связи с ВИЧ и ТБ. 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учение мед. </a:t>
            </a:r>
            <a:r>
              <a:rPr lang="ru-RU" dirty="0"/>
              <a:t>с</a:t>
            </a:r>
            <a:r>
              <a:rPr lang="ru-RU" dirty="0" smtClean="0"/>
              <a:t>пециалистов по </a:t>
            </a:r>
            <a:r>
              <a:rPr lang="ru-RU" dirty="0"/>
              <a:t>вопросам медицинской этики, прав человека, преодоления стигмы и дискриминации при оказании медицинских услуг по ВИЧ и ТБ. 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671465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427" y="215223"/>
            <a:ext cx="11548533" cy="632373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800" dirty="0" smtClean="0"/>
              <a:t>Модуль 12</a:t>
            </a:r>
            <a:r>
              <a:rPr lang="ru-RU" sz="2800" dirty="0"/>
              <a:t>. Снижение барьеров на пути к ВИЧ/ТБ, связанных с правами челове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08363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14427" y="1011381"/>
            <a:ext cx="11777388" cy="5648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/>
              <a:t>Расширение доступа к </a:t>
            </a:r>
            <a:r>
              <a:rPr lang="ru-RU" b="0" dirty="0" smtClean="0"/>
              <a:t>правосудию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Документирование </a:t>
            </a:r>
            <a:r>
              <a:rPr lang="ru-RU" dirty="0"/>
              <a:t>всех случаев нарушения прав, проявлений стигмы и </a:t>
            </a:r>
            <a:r>
              <a:rPr lang="ru-RU" dirty="0" smtClean="0"/>
              <a:t>дискриминации с </a:t>
            </a:r>
            <a:r>
              <a:rPr lang="ru-RU" dirty="0"/>
              <a:t>использованием электронных платформ </a:t>
            </a:r>
            <a:r>
              <a:rPr lang="ru-RU" dirty="0" err="1"/>
              <a:t>REAct</a:t>
            </a:r>
            <a:r>
              <a:rPr lang="ru-RU" dirty="0"/>
              <a:t>, pereboi.kg, </a:t>
            </a:r>
            <a:r>
              <a:rPr lang="ru-RU" dirty="0" err="1"/>
              <a:t>OneImpact</a:t>
            </a:r>
            <a:r>
              <a:rPr lang="ru-RU" dirty="0"/>
              <a:t> и др</a:t>
            </a:r>
            <a:r>
              <a:rPr lang="ru-RU" dirty="0" smtClean="0"/>
              <a:t>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редоставление </a:t>
            </a:r>
            <a:r>
              <a:rPr lang="ru-RU" dirty="0" err="1" smtClean="0"/>
              <a:t>параюридической</a:t>
            </a:r>
            <a:r>
              <a:rPr lang="ru-RU" dirty="0" smtClean="0"/>
              <a:t> помощи на базе НПО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Вовлечение ГГЮП в оказание юридических услуг для ЛЖВ, ТБ, представителям КГН и сообществ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Разработка </a:t>
            </a:r>
            <a:r>
              <a:rPr lang="ru-RU" dirty="0"/>
              <a:t>проекта НПА/межведомственного документа по решению проблем с </a:t>
            </a:r>
            <a:r>
              <a:rPr lang="ru-RU" dirty="0" smtClean="0"/>
              <a:t>документированием.</a:t>
            </a: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фициальная сертификация/обучение </a:t>
            </a:r>
            <a:r>
              <a:rPr lang="ru-RU" dirty="0" err="1" smtClean="0"/>
              <a:t>параюристов</a:t>
            </a:r>
            <a:r>
              <a:rPr lang="ru-RU" dirty="0" smtClean="0"/>
              <a:t>, обучение работе в социальных сетях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казание содействия клиентам программ по ВИЧ и ТБ со стороны 2-х сетей, включая мобилизацию, формирование </a:t>
            </a:r>
            <a:r>
              <a:rPr lang="ru-RU" dirty="0"/>
              <a:t>благоприятной правовой среды, разработку унифицированных подходов </a:t>
            </a:r>
            <a:r>
              <a:rPr lang="ru-RU" dirty="0" smtClean="0"/>
              <a:t>и координацию </a:t>
            </a:r>
            <a:r>
              <a:rPr lang="ru-RU" dirty="0"/>
              <a:t>общих для НПО мероприятий.</a:t>
            </a:r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327379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427" y="215223"/>
            <a:ext cx="11548533" cy="632373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800" dirty="0" smtClean="0"/>
              <a:t>Модуль 12</a:t>
            </a:r>
            <a:r>
              <a:rPr lang="ru-RU" sz="2800" dirty="0"/>
              <a:t>. Снижение барьеров на пути к ВИЧ/ТБ, связанных с правами челове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108363"/>
            <a:ext cx="11777388" cy="498763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14427" y="1473199"/>
            <a:ext cx="11777388" cy="5648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/>
              <a:t>Обеспечение благоприятной правовой среды и правоприменительной </a:t>
            </a:r>
            <a:r>
              <a:rPr lang="ru-RU" b="0" dirty="0" smtClean="0"/>
              <a:t>практики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учающие </a:t>
            </a:r>
            <a:r>
              <a:rPr lang="ru-RU" dirty="0"/>
              <a:t>тренинги для личного состава ОВД, СИН МЮ, </a:t>
            </a:r>
            <a:r>
              <a:rPr lang="ru-RU" dirty="0" smtClean="0"/>
              <a:t>МЗ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Разработка руководства </a:t>
            </a:r>
            <a:r>
              <a:rPr lang="ru-RU" dirty="0"/>
              <a:t>и </a:t>
            </a:r>
            <a:r>
              <a:rPr lang="ru-RU" dirty="0" smtClean="0"/>
              <a:t>проведение обучения </a:t>
            </a:r>
            <a:r>
              <a:rPr lang="ru-RU" dirty="0"/>
              <a:t>специалистов и психологов органов пробации, </a:t>
            </a:r>
            <a:r>
              <a:rPr lang="ru-RU" dirty="0" smtClean="0"/>
              <a:t>по </a:t>
            </a:r>
            <a:r>
              <a:rPr lang="ru-RU" dirty="0"/>
              <a:t>особым потребностям ключевых групп населения, ЛЖВ и больных ТБ. 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учение сотрудников </a:t>
            </a:r>
            <a:r>
              <a:rPr lang="ru-RU" dirty="0"/>
              <a:t>тюрем, </a:t>
            </a:r>
            <a:r>
              <a:rPr lang="ru-RU" dirty="0" smtClean="0"/>
              <a:t>адвокатов </a:t>
            </a:r>
            <a:r>
              <a:rPr lang="ru-RU" dirty="0"/>
              <a:t>и юристов ГГЮП по правовым вопросам ВИЧ и </a:t>
            </a:r>
            <a:r>
              <a:rPr lang="ru-RU" dirty="0" smtClean="0"/>
              <a:t>ТБ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Разработка краткосрочных курсов </a:t>
            </a:r>
            <a:r>
              <a:rPr lang="ru-RU" dirty="0"/>
              <a:t>обучения для специалистов среднего и младшего состава правоохранительных </a:t>
            </a:r>
            <a:r>
              <a:rPr lang="ru-RU" dirty="0" smtClean="0"/>
              <a:t>органов по вопросам ВИЧ и ТБ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Ежегодные </a:t>
            </a:r>
            <a:r>
              <a:rPr lang="ru-RU" dirty="0"/>
              <a:t>рабочие встречи в трех регионах </a:t>
            </a:r>
            <a:r>
              <a:rPr lang="ru-RU" dirty="0" smtClean="0"/>
              <a:t>страны </a:t>
            </a:r>
            <a:r>
              <a:rPr lang="ru-RU" dirty="0"/>
              <a:t>с органами внутренних </a:t>
            </a:r>
            <a:r>
              <a:rPr lang="ru-RU" dirty="0" smtClean="0"/>
              <a:t>дел; обучающие </a:t>
            </a:r>
            <a:r>
              <a:rPr lang="ru-RU" dirty="0"/>
              <a:t>семинары для специалистов </a:t>
            </a:r>
            <a:r>
              <a:rPr lang="ru-RU" dirty="0" err="1" smtClean="0"/>
              <a:t>наркоконтроля</a:t>
            </a:r>
            <a:r>
              <a:rPr lang="ru-RU" dirty="0" smtClean="0"/>
              <a:t>.</a:t>
            </a:r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528569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427" y="215223"/>
            <a:ext cx="11548533" cy="632373"/>
          </a:xfrm>
        </p:spPr>
        <p:txBody>
          <a:bodyPr>
            <a:normAutofit fontScale="90000"/>
          </a:bodyPr>
          <a:lstStyle/>
          <a:p>
            <a:pPr algn="just"/>
            <a:r>
              <a:rPr lang="ru-RU" sz="2800" dirty="0" smtClean="0"/>
              <a:t>Модуль 12</a:t>
            </a:r>
            <a:r>
              <a:rPr lang="ru-RU" sz="2800" dirty="0"/>
              <a:t>. Снижение барьеров на пути к ВИЧ/ТБ, связанных с правами человека</a:t>
            </a:r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14427" y="847596"/>
            <a:ext cx="11777388" cy="56480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/>
              <a:t>Снижение связанной с ВИЧ гендерной дискриминации, вредных гендерных норм и насилия в отношении женщин и девочек во всем их многообразии</a:t>
            </a:r>
            <a:endParaRPr lang="ru-RU" b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одготовка альтернативных отчетов </a:t>
            </a:r>
            <a:r>
              <a:rPr lang="ru-RU" dirty="0"/>
              <a:t>по реализации обязательств страны по правам человека в рамках договорных органов (CEDAW</a:t>
            </a:r>
            <a:r>
              <a:rPr lang="ru-RU" dirty="0" smtClean="0"/>
              <a:t>). Включение рекомендаций международных комитетов в государственные планы и стратегии. Мониторинг их исполнения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роведение оценки </a:t>
            </a:r>
            <a:r>
              <a:rPr lang="ru-RU" dirty="0"/>
              <a:t>уровня гендерного насилия и гендерного неравенства по отношению к представителям людей живущих с ВИЧ и с ТБ, а также КГН, и</a:t>
            </a:r>
            <a:r>
              <a:rPr lang="ru-RU" dirty="0" smtClean="0"/>
              <a:t> </a:t>
            </a:r>
            <a:r>
              <a:rPr lang="ru-RU" dirty="0"/>
              <a:t>влияния гендерного неравенства на доступ к программам профилактики и лечения ВИЧ и ТБ</a:t>
            </a:r>
            <a:r>
              <a:rPr lang="ru-RU" dirty="0" smtClean="0"/>
              <a:t>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еспечение гендерной экспертизы НПА </a:t>
            </a:r>
            <a:r>
              <a:rPr lang="ru-RU" dirty="0" err="1" smtClean="0"/>
              <a:t>связаных</a:t>
            </a:r>
            <a:r>
              <a:rPr lang="ru-RU" dirty="0" smtClean="0"/>
              <a:t> с ВИЧ и ТБ, а также программ для ЛУН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Включение </a:t>
            </a:r>
            <a:r>
              <a:rPr lang="ru-RU" dirty="0" smtClean="0"/>
              <a:t>группы по </a:t>
            </a:r>
            <a:r>
              <a:rPr lang="ru-RU" dirty="0"/>
              <a:t>правам человеку и гендеру </a:t>
            </a:r>
            <a:r>
              <a:rPr lang="ru-RU" dirty="0" smtClean="0"/>
              <a:t>в структуру Комитета КСОЗ по ВИЧ и ТБ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оддержка 1 кризисного </a:t>
            </a:r>
            <a:r>
              <a:rPr lang="ru-RU" dirty="0"/>
              <a:t>центра для женщин из числа ЛЖВ и </a:t>
            </a:r>
            <a:r>
              <a:rPr lang="ru-RU" dirty="0" smtClean="0"/>
              <a:t>КГН, оказавшихся в трудной жизненной ситуации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Поддержана работа 2 </a:t>
            </a:r>
            <a:r>
              <a:rPr lang="ru-RU" dirty="0" smtClean="0"/>
              <a:t>сетей для разработки </a:t>
            </a:r>
            <a:r>
              <a:rPr lang="ru-RU" dirty="0"/>
              <a:t>унифицированных подходов для НПО, координации общих для НПО мероприятий.</a:t>
            </a:r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419442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427" y="215223"/>
            <a:ext cx="11548533" cy="632373"/>
          </a:xfrm>
        </p:spPr>
        <p:txBody>
          <a:bodyPr>
            <a:normAutofit fontScale="90000"/>
          </a:bodyPr>
          <a:lstStyle/>
          <a:p>
            <a:r>
              <a:rPr lang="ru-RU" sz="2800" dirty="0" smtClean="0"/>
              <a:t>Модуль 13</a:t>
            </a:r>
            <a:r>
              <a:rPr lang="ru-RU" sz="2800" dirty="0"/>
              <a:t>. Лекарственно-устойчивый (ЛУ)-ТБ: Диагностика, лечение и уход</a:t>
            </a:r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14427" y="847596"/>
            <a:ext cx="11777388" cy="56480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ривлечение 3 НПО (Ош, Иссык Куль, Чуйская область (восток)) для проведения активного выявления ТБ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роведение обучения </a:t>
            </a:r>
            <a:r>
              <a:rPr lang="ru-RU" dirty="0"/>
              <a:t>скринингу для НПО/кейс-менеджерам, а также ВИЧ сервисных организаций</a:t>
            </a:r>
            <a:r>
              <a:rPr lang="ru-RU" dirty="0" smtClean="0"/>
              <a:t>, вовлеченных в предоставление услуг по ТБ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 П</a:t>
            </a:r>
            <a:r>
              <a:rPr lang="ru-RU" dirty="0" smtClean="0"/>
              <a:t>роведение </a:t>
            </a:r>
            <a:r>
              <a:rPr lang="ru-RU" dirty="0"/>
              <a:t>каскадных тренингов для специалистов лабораторной службы ПМСП, включая СИН по сбору </a:t>
            </a:r>
            <a:r>
              <a:rPr lang="ru-RU" dirty="0" smtClean="0"/>
              <a:t>патологического материала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еспечение </a:t>
            </a:r>
            <a:r>
              <a:rPr lang="ru-RU" dirty="0"/>
              <a:t>ПЛТ лиц из очагов контакта по </a:t>
            </a:r>
            <a:r>
              <a:rPr lang="ru-RU" dirty="0" smtClean="0"/>
              <a:t>туберкулезу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роведение исследования </a:t>
            </a:r>
            <a:r>
              <a:rPr lang="ru-RU" dirty="0"/>
              <a:t>KAP для выявления основных поведенческих барьеров, препятствующих расширению применения ПЛТ</a:t>
            </a:r>
            <a:r>
              <a:rPr lang="ru-RU" dirty="0" smtClean="0"/>
              <a:t>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новление диагностического оборудования для проведения быстрой молекулярной диагностики. Децентрализация ТЛЧ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учение сотрудников лабораторий новым методам диагностики </a:t>
            </a:r>
            <a:r>
              <a:rPr lang="en-US" dirty="0"/>
              <a:t>(</a:t>
            </a:r>
            <a:r>
              <a:rPr lang="en-US" dirty="0" err="1"/>
              <a:t>Xpert</a:t>
            </a:r>
            <a:r>
              <a:rPr lang="en-US" dirty="0"/>
              <a:t> XDR</a:t>
            </a:r>
            <a:r>
              <a:rPr lang="en-US" dirty="0" smtClean="0"/>
              <a:t>)</a:t>
            </a:r>
            <a:r>
              <a:rPr lang="ru-RU" dirty="0" smtClean="0"/>
              <a:t>.</a:t>
            </a:r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3177900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427" y="215223"/>
            <a:ext cx="11548533" cy="632373"/>
          </a:xfrm>
        </p:spPr>
        <p:txBody>
          <a:bodyPr>
            <a:normAutofit fontScale="90000"/>
          </a:bodyPr>
          <a:lstStyle/>
          <a:p>
            <a:r>
              <a:rPr lang="ru-RU" sz="2800" dirty="0" smtClean="0"/>
              <a:t>Модуль 13</a:t>
            </a:r>
            <a:r>
              <a:rPr lang="ru-RU" sz="2800" dirty="0"/>
              <a:t>. Лекарственно-устойчивый (ЛУ)-ТБ: Диагностика, лечение и уход</a:t>
            </a:r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114427" y="847595"/>
            <a:ext cx="11777388" cy="5876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/>
              <a:t>Лечение, уход и </a:t>
            </a:r>
            <a:r>
              <a:rPr lang="ru-RU" b="0" dirty="0" smtClean="0"/>
              <a:t>поддержка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Увеличение охвата краткосрочными курсами лечения до 60%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Увеличение расходов государства на приобретение препаратов до 26%. Осуществление закупок через международные платформы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еспечение </a:t>
            </a:r>
            <a:r>
              <a:rPr lang="ru-RU" dirty="0"/>
              <a:t>пациентов с МЛУ-ТБ </a:t>
            </a:r>
            <a:r>
              <a:rPr lang="ru-RU" dirty="0" smtClean="0"/>
              <a:t>пиридоксином (Вит В6).</a:t>
            </a:r>
          </a:p>
          <a:p>
            <a:r>
              <a:rPr lang="ru-RU" b="0" dirty="0"/>
              <a:t>Мероприятия по социальной поддержке пациентов и повышению приверженности лечению</a:t>
            </a:r>
            <a:endParaRPr lang="ru-RU" b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Социальная поддержка </a:t>
            </a:r>
            <a:r>
              <a:rPr lang="ru-RU" dirty="0"/>
              <a:t>пациентов в виде ежемесячных </a:t>
            </a:r>
            <a:r>
              <a:rPr lang="ru-RU" dirty="0" smtClean="0"/>
              <a:t>выплат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Видеосопровождение лечения.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ривлечение НПО в 3 регионах для социального сопровождения людей с МЛУ-ТБ. Остальные регионы покрываются за счет внедрения ГСЗ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Центры временного пребывания в г. Бишкек и г. Ош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Социальное сопровождение лиц, освободившихся из мест заключения в гражданский сектор с ТБ и активное выявление среди осужденных, находящихся в колониях-поселениях включая службу пробации. 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615674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4427" y="215223"/>
            <a:ext cx="11548533" cy="632373"/>
          </a:xfrm>
        </p:spPr>
        <p:txBody>
          <a:bodyPr>
            <a:normAutofit fontScale="90000"/>
          </a:bodyPr>
          <a:lstStyle/>
          <a:p>
            <a:r>
              <a:rPr lang="ru-RU" sz="2800" dirty="0" smtClean="0"/>
              <a:t>Модуль 13</a:t>
            </a:r>
            <a:r>
              <a:rPr lang="ru-RU" sz="2800" dirty="0"/>
              <a:t>. Лекарственно-устойчивый (ЛУ)-ТБ: Диагностика, лечение и уход</a:t>
            </a:r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0" y="748145"/>
            <a:ext cx="12044218" cy="610985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/>
              <a:t>Обучение и мотивация персонала, занятого в лечении и уходе при МЛУ-ТБ </a:t>
            </a:r>
            <a:endParaRPr lang="ru-RU" b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роведение тренингов для мед. персонала, занимающегося лечением, в том числе по </a:t>
            </a:r>
            <a:r>
              <a:rPr lang="ru-RU" dirty="0"/>
              <a:t>правовым и гендерным аспектам оказания противотуберкулезной помощи населению в КР, а также </a:t>
            </a:r>
            <a:r>
              <a:rPr lang="ru-RU" dirty="0" smtClean="0"/>
              <a:t>вопросам </a:t>
            </a:r>
            <a:r>
              <a:rPr lang="ru-RU" dirty="0"/>
              <a:t>стигмы и </a:t>
            </a:r>
            <a:r>
              <a:rPr lang="ru-RU" dirty="0" err="1" smtClean="0"/>
              <a:t>диксриминации</a:t>
            </a:r>
            <a:r>
              <a:rPr lang="ru-RU" dirty="0"/>
              <a:t>.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учение </a:t>
            </a:r>
            <a:r>
              <a:rPr lang="ru-RU" dirty="0"/>
              <a:t>клиницистов на международных </a:t>
            </a:r>
            <a:r>
              <a:rPr lang="ru-RU" dirty="0" smtClean="0"/>
              <a:t>тренингах.</a:t>
            </a:r>
          </a:p>
          <a:p>
            <a:r>
              <a:rPr lang="ru-RU" b="0" dirty="0"/>
              <a:t>Сопутствующие мероприятия, направленные на улучшение показателей каскада </a:t>
            </a:r>
            <a:r>
              <a:rPr lang="ru-RU" b="0" dirty="0" smtClean="0"/>
              <a:t>лечения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Обновление КР/КП по ТБ, включая КР/КП на уровне </a:t>
            </a:r>
            <a:r>
              <a:rPr lang="ru-RU" dirty="0" smtClean="0"/>
              <a:t>ПСМП</a:t>
            </a:r>
            <a:r>
              <a:rPr lang="ru-RU" dirty="0"/>
              <a:t>. Обучение медицинских работников ПМСП и </a:t>
            </a:r>
            <a:r>
              <a:rPr lang="ru-RU" dirty="0" smtClean="0"/>
              <a:t>ПТО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еспечение транспортировки патологического материала в случае перебоев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/>
              <a:t>Осуществление стимулирующих/мотивирующих выплат </a:t>
            </a:r>
            <a:r>
              <a:rPr lang="ru-RU" dirty="0" smtClean="0"/>
              <a:t>медработникам, отвечающим </a:t>
            </a:r>
            <a:r>
              <a:rPr lang="ru-RU" dirty="0"/>
              <a:t>за целевые </a:t>
            </a:r>
            <a:r>
              <a:rPr lang="ru-RU" dirty="0" smtClean="0"/>
              <a:t>индикаторы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Разработка </a:t>
            </a:r>
            <a:r>
              <a:rPr lang="ru-RU" dirty="0"/>
              <a:t>механизма стимулирующих/мотивирующие выплат за каждый выявленный случай ТБ для ПМСП, за каждого выявленного ЛУ ТБ. </a:t>
            </a: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Ежегодный </a:t>
            </a:r>
            <a:r>
              <a:rPr lang="ru-RU" dirty="0"/>
              <a:t>обзор национальной </a:t>
            </a:r>
            <a:r>
              <a:rPr lang="ru-RU" dirty="0" smtClean="0"/>
              <a:t>программы Туберкулез 6 с публикацией результатов </a:t>
            </a: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снащение </a:t>
            </a:r>
            <a:r>
              <a:rPr lang="ru-RU" dirty="0"/>
              <a:t>ПМСП и ПТО для ТБ </a:t>
            </a:r>
            <a:r>
              <a:rPr lang="ru-RU" dirty="0" smtClean="0"/>
              <a:t>МИС. </a:t>
            </a: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Поддержка миссий ВОЗ, оказание тех. </a:t>
            </a:r>
            <a:r>
              <a:rPr lang="ru-RU" dirty="0"/>
              <a:t>п</a:t>
            </a:r>
            <a:r>
              <a:rPr lang="ru-RU" dirty="0" smtClean="0"/>
              <a:t>оддержки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Обеспечение </a:t>
            </a:r>
            <a:r>
              <a:rPr lang="ru-RU" dirty="0"/>
              <a:t>внешней оценки качества в двух </a:t>
            </a:r>
            <a:r>
              <a:rPr lang="ru-RU" dirty="0" err="1" smtClean="0"/>
              <a:t>референс</a:t>
            </a:r>
            <a:r>
              <a:rPr lang="ru-RU" dirty="0" smtClean="0"/>
              <a:t>-лабораториях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ru-RU" dirty="0" smtClean="0"/>
              <a:t>Расширение </a:t>
            </a:r>
            <a:r>
              <a:rPr lang="ru-RU" dirty="0"/>
              <a:t>применения метода геномного </a:t>
            </a:r>
            <a:r>
              <a:rPr lang="ru-RU" dirty="0" err="1" smtClean="0"/>
              <a:t>секвенирования</a:t>
            </a:r>
            <a:r>
              <a:rPr lang="ru-RU" dirty="0" smtClean="0"/>
              <a:t>. </a:t>
            </a:r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  <a:p>
            <a:pPr marL="342900" indent="-342900">
              <a:buFont typeface="Arial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264447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52718"/>
            <a:ext cx="10769600" cy="829415"/>
          </a:xfrm>
        </p:spPr>
        <p:txBody>
          <a:bodyPr/>
          <a:lstStyle/>
          <a:p>
            <a:pPr algn="ctr"/>
            <a:r>
              <a:rPr lang="ru-RU" dirty="0"/>
              <a:t>6.	</a:t>
            </a:r>
            <a:r>
              <a:rPr lang="ru-RU" sz="3200" dirty="0"/>
              <a:t>Источники финансирован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5777" y="1004711"/>
            <a:ext cx="11469511" cy="5486399"/>
          </a:xfrm>
        </p:spPr>
        <p:txBody>
          <a:bodyPr>
            <a:normAutofit/>
          </a:bodyPr>
          <a:lstStyle/>
          <a:p>
            <a:pPr algn="just"/>
            <a:r>
              <a:rPr lang="ru-RU" dirty="0" smtClean="0"/>
              <a:t>Существенных </a:t>
            </a:r>
            <a:r>
              <a:rPr lang="ru-RU" dirty="0"/>
              <a:t>изменений в национальном или международном финансировании </a:t>
            </a:r>
            <a:r>
              <a:rPr lang="ru-RU" dirty="0" smtClean="0"/>
              <a:t>для </a:t>
            </a:r>
            <a:r>
              <a:rPr lang="ru-RU" dirty="0"/>
              <a:t>осуществления программных </a:t>
            </a:r>
            <a:r>
              <a:rPr lang="ru-RU" dirty="0" smtClean="0"/>
              <a:t>мероприятий в области ВИЧ/ТБ не имеется.</a:t>
            </a:r>
          </a:p>
          <a:p>
            <a:pPr algn="just"/>
            <a:r>
              <a:rPr lang="ru-RU" dirty="0" smtClean="0"/>
              <a:t> </a:t>
            </a:r>
            <a:r>
              <a:rPr lang="ru-RU" dirty="0"/>
              <a:t>Государственные расходы на здравоохранение растут с 2000 года и </a:t>
            </a:r>
            <a:r>
              <a:rPr lang="ru-RU" dirty="0" smtClean="0"/>
              <a:t>составили </a:t>
            </a:r>
            <a:r>
              <a:rPr lang="ru-RU" dirty="0"/>
              <a:t>4,3% от ВВП наряду со значительным уровнем расходов частных лиц до 39,9% от общих расходов на </a:t>
            </a:r>
            <a:r>
              <a:rPr lang="ru-RU" dirty="0" smtClean="0"/>
              <a:t>здравоохранение в </a:t>
            </a:r>
            <a:r>
              <a:rPr lang="ru-RU" dirty="0"/>
              <a:t>2012 </a:t>
            </a:r>
            <a:r>
              <a:rPr lang="ru-RU" dirty="0" smtClean="0"/>
              <a:t>году. Расходы </a:t>
            </a:r>
            <a:r>
              <a:rPr lang="ru-RU" dirty="0"/>
              <a:t>на </a:t>
            </a:r>
            <a:r>
              <a:rPr lang="ru-RU" dirty="0" smtClean="0"/>
              <a:t>здравоохранение в 2012 году </a:t>
            </a:r>
            <a:r>
              <a:rPr lang="ru-RU" dirty="0"/>
              <a:t>в общем государственном бюджете составила 12,2</a:t>
            </a:r>
            <a:r>
              <a:rPr lang="ru-RU" dirty="0" smtClean="0"/>
              <a:t>%. </a:t>
            </a:r>
            <a:r>
              <a:rPr lang="ru-RU" dirty="0"/>
              <a:t>Эти показатели свидетельствуют о том, что по сравнению с другими странами Центральной Азии, существует </a:t>
            </a:r>
            <a:r>
              <a:rPr lang="ru-RU" dirty="0" smtClean="0"/>
              <a:t>обязательство Правительства распространять </a:t>
            </a:r>
            <a:r>
              <a:rPr lang="ru-RU" dirty="0"/>
              <a:t>справедливую долю государственного бюджета на систему здравоохранения. </a:t>
            </a:r>
            <a:endParaRPr lang="ru-RU" dirty="0" smtClean="0"/>
          </a:p>
          <a:p>
            <a:pPr algn="just"/>
            <a:r>
              <a:rPr lang="ru-RU" dirty="0" smtClean="0"/>
              <a:t>Важно </a:t>
            </a:r>
            <a:r>
              <a:rPr lang="ru-RU" dirty="0"/>
              <a:t>отметить, однако, </a:t>
            </a:r>
            <a:r>
              <a:rPr lang="ru-RU" dirty="0" smtClean="0"/>
              <a:t>что официальный </a:t>
            </a:r>
            <a:r>
              <a:rPr lang="ru-RU" dirty="0"/>
              <a:t>ВВП на душу населения очень низок в стране, что делает государственные расходы на здравоохранение на душу населения очень </a:t>
            </a:r>
            <a:r>
              <a:rPr lang="ru-RU" dirty="0" smtClean="0"/>
              <a:t>низкими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164606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316088" y="158044"/>
            <a:ext cx="11413067" cy="6491112"/>
          </a:xfrm>
        </p:spPr>
        <p:txBody>
          <a:bodyPr>
            <a:noAutofit/>
          </a:bodyPr>
          <a:lstStyle/>
          <a:p>
            <a:pPr algn="just"/>
            <a:r>
              <a:rPr lang="ru-RU" sz="1800" dirty="0"/>
              <a:t>Правительство </a:t>
            </a:r>
            <a:r>
              <a:rPr lang="ru-RU" sz="1800" dirty="0" smtClean="0"/>
              <a:t>стремится </a:t>
            </a:r>
            <a:r>
              <a:rPr lang="ru-RU" sz="1800" dirty="0"/>
              <a:t>к борьбе с эпидемией ТБ и ВИЧ и </a:t>
            </a:r>
            <a:r>
              <a:rPr lang="ru-RU" sz="1800" dirty="0" smtClean="0"/>
              <a:t>выделило </a:t>
            </a:r>
            <a:r>
              <a:rPr lang="ru-RU" sz="1800" dirty="0"/>
              <a:t>за последние годы все большее количество финансовых, людских и инфраструктурных </a:t>
            </a:r>
            <a:r>
              <a:rPr lang="ru-RU" sz="1800" dirty="0" smtClean="0"/>
              <a:t>ресурсов, </a:t>
            </a:r>
            <a:r>
              <a:rPr lang="ru-RU" sz="1800" dirty="0"/>
              <a:t>в частности, для покрытия значительных расходов персонала, </a:t>
            </a:r>
            <a:r>
              <a:rPr lang="ru-RU" sz="1800" dirty="0" smtClean="0"/>
              <a:t>медицинских услуг. </a:t>
            </a:r>
            <a:r>
              <a:rPr lang="ru-RU" sz="1800" dirty="0"/>
              <a:t>П</a:t>
            </a:r>
            <a:r>
              <a:rPr lang="ru-RU" sz="1800" dirty="0" smtClean="0"/>
              <a:t>редприняло </a:t>
            </a:r>
            <a:r>
              <a:rPr lang="ru-RU" sz="1800" dirty="0"/>
              <a:t>серьезные шаги </a:t>
            </a:r>
            <a:r>
              <a:rPr lang="ru-RU" sz="1800" dirty="0" smtClean="0"/>
              <a:t>в финансировании </a:t>
            </a:r>
            <a:r>
              <a:rPr lang="ru-RU" sz="1800" dirty="0"/>
              <a:t>основных услуг, </a:t>
            </a:r>
            <a:r>
              <a:rPr lang="ru-RU" sz="1800" dirty="0" smtClean="0"/>
              <a:t>таких </a:t>
            </a:r>
            <a:r>
              <a:rPr lang="ru-RU" sz="1800" dirty="0"/>
              <a:t>как </a:t>
            </a:r>
            <a:r>
              <a:rPr lang="ru-RU" sz="1800" dirty="0" smtClean="0"/>
              <a:t>ТБ препараты </a:t>
            </a:r>
            <a:r>
              <a:rPr lang="ru-RU" sz="1800" dirty="0"/>
              <a:t>первого ряда, </a:t>
            </a:r>
            <a:r>
              <a:rPr lang="ru-RU" sz="1800" dirty="0" smtClean="0"/>
              <a:t>ВИЧ-диагностики, диагностики </a:t>
            </a:r>
            <a:r>
              <a:rPr lang="ru-RU" sz="1800" dirty="0"/>
              <a:t>оппортунистических инфекций и </a:t>
            </a:r>
            <a:r>
              <a:rPr lang="ru-RU" sz="1800" dirty="0" smtClean="0"/>
              <a:t>диагностики ИППП и </a:t>
            </a:r>
            <a:r>
              <a:rPr lang="ru-RU" sz="1800" dirty="0"/>
              <a:t>т.д. </a:t>
            </a:r>
            <a:endParaRPr lang="ru-RU" sz="1800" dirty="0" smtClean="0"/>
          </a:p>
          <a:p>
            <a:pPr algn="just"/>
            <a:r>
              <a:rPr lang="ru-RU" sz="1800" dirty="0" smtClean="0"/>
              <a:t>Правительство </a:t>
            </a:r>
            <a:r>
              <a:rPr lang="ru-RU" sz="1800" dirty="0"/>
              <a:t>Кыргызстана стремится к дальнейшему повышению уровня внутреннего финансирования в целях устранения пробелов и </a:t>
            </a:r>
            <a:r>
              <a:rPr lang="ru-RU" sz="1800" dirty="0" smtClean="0"/>
              <a:t>стремится взять </a:t>
            </a:r>
            <a:r>
              <a:rPr lang="ru-RU" sz="1800" dirty="0"/>
              <a:t>на себя финансирование </a:t>
            </a:r>
            <a:r>
              <a:rPr lang="ru-RU" sz="1800" dirty="0" smtClean="0"/>
              <a:t>приоритетных мероприятий, включенных </a:t>
            </a:r>
            <a:r>
              <a:rPr lang="ru-RU" sz="1800" dirty="0"/>
              <a:t>в </a:t>
            </a:r>
            <a:r>
              <a:rPr lang="ru-RU" sz="1800" dirty="0" smtClean="0"/>
              <a:t>Национальный план по </a:t>
            </a:r>
            <a:r>
              <a:rPr lang="ru-RU" sz="1800" dirty="0"/>
              <a:t>ТБ и </a:t>
            </a:r>
            <a:r>
              <a:rPr lang="ru-RU" sz="1800" dirty="0" smtClean="0"/>
              <a:t>ВИЧ. </a:t>
            </a:r>
            <a:r>
              <a:rPr lang="ru-RU" sz="1800" dirty="0"/>
              <a:t>Начиная с 2016 </a:t>
            </a:r>
            <a:r>
              <a:rPr lang="ru-RU" sz="1800" dirty="0" smtClean="0"/>
              <a:t>года, правительство выделило </a:t>
            </a:r>
            <a:r>
              <a:rPr lang="ru-RU" sz="1800" dirty="0"/>
              <a:t>дополнительный бюджет для </a:t>
            </a:r>
            <a:r>
              <a:rPr lang="ru-RU" sz="1800" dirty="0" smtClean="0"/>
              <a:t>тестирования </a:t>
            </a:r>
            <a:r>
              <a:rPr lang="ru-RU" sz="1800" dirty="0"/>
              <a:t>ВИЧ в </a:t>
            </a:r>
            <a:r>
              <a:rPr lang="ru-RU" sz="1800" dirty="0" smtClean="0"/>
              <a:t>УГ. </a:t>
            </a:r>
            <a:r>
              <a:rPr lang="ru-RU" sz="1800" dirty="0"/>
              <a:t>В период проекта, правительство планирует постепенный переход от внешнего к внутреннему финансированию для профилактики вертикальной передачи </a:t>
            </a:r>
            <a:r>
              <a:rPr lang="ru-RU" sz="1800" dirty="0" smtClean="0"/>
              <a:t>ВИЧ.</a:t>
            </a:r>
          </a:p>
          <a:p>
            <a:pPr algn="just"/>
            <a:r>
              <a:rPr lang="ru-RU" sz="1800" dirty="0"/>
              <a:t>За последние годы правительство увеличило финансовые ассигнования на ТБ и борьбы с </a:t>
            </a:r>
            <a:r>
              <a:rPr lang="ru-RU" sz="1800" dirty="0" smtClean="0"/>
              <a:t>ВИЧ, </a:t>
            </a:r>
            <a:r>
              <a:rPr lang="ru-RU" sz="1800" dirty="0"/>
              <a:t>в то время как вклад внешних партнеров </a:t>
            </a:r>
            <a:r>
              <a:rPr lang="ru-RU" sz="1800" dirty="0" smtClean="0"/>
              <a:t>начал снижаться. </a:t>
            </a:r>
            <a:r>
              <a:rPr lang="ru-RU" sz="1800" dirty="0"/>
              <a:t>Тем не менее, на данный момент, </a:t>
            </a:r>
            <a:r>
              <a:rPr lang="ru-RU" sz="1800" dirty="0" smtClean="0"/>
              <a:t>ГФ является </a:t>
            </a:r>
            <a:r>
              <a:rPr lang="ru-RU" sz="1800" dirty="0"/>
              <a:t>основным внешним источником </a:t>
            </a:r>
            <a:r>
              <a:rPr lang="ru-RU" sz="1800" dirty="0" smtClean="0"/>
              <a:t>поддержки программ по </a:t>
            </a:r>
            <a:r>
              <a:rPr lang="ru-RU" sz="1800" dirty="0"/>
              <a:t>ТБ и </a:t>
            </a:r>
            <a:r>
              <a:rPr lang="ru-RU" sz="1800" dirty="0" smtClean="0"/>
              <a:t>ВИЧ. </a:t>
            </a:r>
            <a:r>
              <a:rPr lang="ru-RU" sz="1800" dirty="0">
                <a:solidFill>
                  <a:srgbClr val="FF0000"/>
                </a:solidFill>
              </a:rPr>
              <a:t>На сегодняшний день требования партнерского финансирования были </a:t>
            </a:r>
            <a:r>
              <a:rPr lang="ru-RU" sz="1800" dirty="0" smtClean="0">
                <a:solidFill>
                  <a:srgbClr val="FF0000"/>
                </a:solidFill>
              </a:rPr>
              <a:t>выполнены: доля </a:t>
            </a:r>
            <a:r>
              <a:rPr lang="ru-RU" sz="1800" dirty="0">
                <a:solidFill>
                  <a:srgbClr val="FF0000"/>
                </a:solidFill>
              </a:rPr>
              <a:t>взноса правительства выше, чем минимальный порог, установленный для стран с низким и средним уровнем дохода (более 60%) и наблюдается небольшое увеличение взноса правительства и национальные программы борьбы с </a:t>
            </a:r>
            <a:r>
              <a:rPr lang="ru-RU" sz="1800" dirty="0" smtClean="0">
                <a:solidFill>
                  <a:srgbClr val="FF0000"/>
                </a:solidFill>
              </a:rPr>
              <a:t>заболеваниями. Кроме </a:t>
            </a:r>
            <a:r>
              <a:rPr lang="ru-RU" sz="1800" dirty="0">
                <a:solidFill>
                  <a:srgbClr val="FF0000"/>
                </a:solidFill>
              </a:rPr>
              <a:t>того, есть небольшое увеличение взноса правительства в целом </a:t>
            </a:r>
            <a:r>
              <a:rPr lang="ru-RU" sz="1800" dirty="0" smtClean="0">
                <a:solidFill>
                  <a:srgbClr val="FF0000"/>
                </a:solidFill>
              </a:rPr>
              <a:t>в сектор </a:t>
            </a:r>
            <a:r>
              <a:rPr lang="ru-RU" sz="1800" dirty="0">
                <a:solidFill>
                  <a:srgbClr val="FF0000"/>
                </a:solidFill>
              </a:rPr>
              <a:t>здравоохранения. </a:t>
            </a:r>
            <a:endParaRPr lang="ru-RU" sz="180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457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2E295-8F23-BA43-67E7-035BCF41B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48783"/>
            <a:ext cx="11473224" cy="730788"/>
          </a:xfrm>
        </p:spPr>
        <p:txBody>
          <a:bodyPr/>
          <a:lstStyle/>
          <a:p>
            <a:pPr algn="l" rtl="0">
              <a:lnSpc>
                <a:spcPts val="3300"/>
              </a:lnSpc>
            </a:pPr>
            <a:r>
              <a:rPr lang="ru-RU" sz="3200" b="0" i="0" u="none" baseline="0" dirty="0"/>
              <a:t>Страновой диалог в ходе разработки запроса на финансирование</a:t>
            </a:r>
            <a:endParaRPr lang="ru-RU" sz="2800" dirty="0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EA0889-64DE-FDE4-A9B0-C86E714FD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/>
            <a:fld id="{9E2BE927-25C7-4379-86F1-C17ED9D2A7F2}" type="slidenum">
              <a:rPr/>
              <a:t>4</a:t>
            </a:fld>
            <a:endParaRPr lang="ru-RU" dirty="0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7A21E57-6625-2565-F7DE-B5F99C081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7350" y="866432"/>
            <a:ext cx="11473225" cy="549174"/>
          </a:xfrm>
        </p:spPr>
        <p:txBody>
          <a:bodyPr>
            <a:normAutofit/>
          </a:bodyPr>
          <a:lstStyle/>
          <a:p>
            <a:pPr algn="l" rtl="0"/>
            <a:r>
              <a:rPr lang="ru-RU" sz="2300" b="0" i="0" u="none" baseline="0" dirty="0"/>
              <a:t>Ожидаемый долгосрочный результат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0A21E2C-8604-0914-E766-94D4CBB094C6}"/>
              </a:ext>
            </a:extLst>
          </p:cNvPr>
          <p:cNvGrpSpPr/>
          <p:nvPr/>
        </p:nvGrpSpPr>
        <p:grpSpPr>
          <a:xfrm>
            <a:off x="2347728" y="1241120"/>
            <a:ext cx="7352238" cy="995124"/>
            <a:chOff x="507448" y="2349919"/>
            <a:chExt cx="7352238" cy="995124"/>
          </a:xfrm>
        </p:grpSpPr>
        <p:pic>
          <p:nvPicPr>
            <p:cNvPr id="32" name="Picture 31" descr="Черный прямоугольник с черным фоном&#10;&#10;Описание создается автоматически с низкой степенью достоверности">
              <a:extLst>
                <a:ext uri="{FF2B5EF4-FFF2-40B4-BE49-F238E27FC236}">
                  <a16:creationId xmlns:a16="http://schemas.microsoft.com/office/drawing/2014/main" id="{D51CB9B7-366A-6212-E892-81AD5BFC453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448" y="2349919"/>
              <a:ext cx="773523" cy="775678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8569D7D-0FE4-4726-180C-5866E1E02100}"/>
                </a:ext>
              </a:extLst>
            </p:cNvPr>
            <p:cNvSpPr txBox="1"/>
            <p:nvPr/>
          </p:nvSpPr>
          <p:spPr>
            <a:xfrm>
              <a:off x="1763686" y="2421713"/>
              <a:ext cx="6096000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 rtl="0">
                <a:spcAft>
                  <a:spcPts val="800"/>
                </a:spcAft>
              </a:pPr>
              <a:r>
                <a:rPr lang="ru-RU" sz="1800" b="0" i="0" u="none" baseline="0" dirty="0">
                  <a:solidFill>
                    <a:schemeClr val="tx1"/>
                  </a:solidFill>
                </a:rPr>
                <a:t>Проанализируйте пробелы и обсудите схему распределения ресурсов программ с учетом ориентировочной суммой для ЖУССЗ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C54B287-DAF4-F7E0-60FF-7C95D0272EAA}"/>
              </a:ext>
            </a:extLst>
          </p:cNvPr>
          <p:cNvGrpSpPr/>
          <p:nvPr/>
        </p:nvGrpSpPr>
        <p:grpSpPr>
          <a:xfrm>
            <a:off x="2277289" y="3817410"/>
            <a:ext cx="7422677" cy="914400"/>
            <a:chOff x="437009" y="3421507"/>
            <a:chExt cx="7422677" cy="914400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6E0DBA0E-F51A-1E8D-E63C-5CC0F91313A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37009" y="3421507"/>
              <a:ext cx="914400" cy="914400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6107014-8CB5-8B32-1E8B-AB3689531B40}"/>
                </a:ext>
              </a:extLst>
            </p:cNvPr>
            <p:cNvSpPr txBox="1"/>
            <p:nvPr/>
          </p:nvSpPr>
          <p:spPr>
            <a:xfrm>
              <a:off x="1763686" y="3694041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 rtl="0">
                <a:spcAft>
                  <a:spcPts val="800"/>
                </a:spcAft>
              </a:pPr>
              <a:r>
                <a:rPr lang="ru-RU" sz="1800" b="0" i="0" u="none" baseline="0" dirty="0">
                  <a:solidFill>
                    <a:schemeClr val="tx1"/>
                  </a:solidFill>
                </a:rPr>
                <a:t>Задокументируйте фактические данные для обеспечения соответствия квалификационному требованию 1 и квалификационному требованию 2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80AA1A1-796B-DC18-672B-135F594E2C84}"/>
              </a:ext>
            </a:extLst>
          </p:cNvPr>
          <p:cNvGrpSpPr/>
          <p:nvPr/>
        </p:nvGrpSpPr>
        <p:grpSpPr>
          <a:xfrm>
            <a:off x="2332564" y="5308358"/>
            <a:ext cx="7395317" cy="914400"/>
            <a:chOff x="435898" y="1139609"/>
            <a:chExt cx="7395317" cy="914400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42AA4CC-FD44-3921-EBB7-E269656CB4FA}"/>
                </a:ext>
              </a:extLst>
            </p:cNvPr>
            <p:cNvSpPr txBox="1"/>
            <p:nvPr/>
          </p:nvSpPr>
          <p:spPr>
            <a:xfrm>
              <a:off x="1735215" y="1412143"/>
              <a:ext cx="6096000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 rtl="0">
                <a:spcAft>
                  <a:spcPts val="800"/>
                </a:spcAft>
              </a:pPr>
              <a:r>
                <a:rPr lang="ru-RU" sz="1800" b="0" i="0" u="none" baseline="0" dirty="0">
                  <a:solidFill>
                    <a:schemeClr val="tx1"/>
                  </a:solidFill>
                </a:rPr>
                <a:t>Заполните формы запроса на финансирование и приложения</a:t>
              </a:r>
            </a:p>
          </p:txBody>
        </p:sp>
        <p:pic>
          <p:nvPicPr>
            <p:cNvPr id="39" name="Picture 38" descr="Форма&#10;&#10;Описание создается автоматически с низкой степенью достоверности">
              <a:extLst>
                <a:ext uri="{FF2B5EF4-FFF2-40B4-BE49-F238E27FC236}">
                  <a16:creationId xmlns:a16="http://schemas.microsoft.com/office/drawing/2014/main" id="{75BA60B1-2CC7-2C1E-975B-0B55B4817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5898" y="1139609"/>
              <a:ext cx="916623" cy="914400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1BB904F-CFAA-0C5F-0277-3C42828F3477}"/>
              </a:ext>
            </a:extLst>
          </p:cNvPr>
          <p:cNvGrpSpPr/>
          <p:nvPr/>
        </p:nvGrpSpPr>
        <p:grpSpPr>
          <a:xfrm>
            <a:off x="2328429" y="2464183"/>
            <a:ext cx="7431265" cy="910029"/>
            <a:chOff x="435898" y="1141794"/>
            <a:chExt cx="7431265" cy="910029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645F7B7-07C5-4035-05A4-9F49D181A6D7}"/>
                </a:ext>
              </a:extLst>
            </p:cNvPr>
            <p:cNvSpPr txBox="1"/>
            <p:nvPr/>
          </p:nvSpPr>
          <p:spPr>
            <a:xfrm>
              <a:off x="1771163" y="1273643"/>
              <a:ext cx="609600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 rtl="0">
                <a:spcAft>
                  <a:spcPts val="800"/>
                </a:spcAft>
              </a:pPr>
              <a:r>
                <a:rPr lang="ru-RU" sz="1800" b="0" i="0" u="none" baseline="0" dirty="0">
                  <a:solidFill>
                    <a:schemeClr val="tx1"/>
                  </a:solidFill>
                </a:rPr>
                <a:t>Выстройте программные пробелы и порядок приоритетов для запроса </a:t>
              </a:r>
              <a:r>
                <a:rPr lang="ru-RU" sz="1800" b="0" i="0" u="none" baseline="0" dirty="0"/>
                <a:t>на</a:t>
              </a:r>
              <a:r>
                <a:rPr lang="ru-RU" sz="1800" b="0" i="0" u="none" baseline="0" dirty="0">
                  <a:solidFill>
                    <a:schemeClr val="tx1"/>
                  </a:solidFill>
                </a:rPr>
                <a:t> финансирование</a:t>
              </a: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C64CFBBB-39BD-958F-74C4-FDAE7757FBF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35898" y="1141794"/>
              <a:ext cx="916623" cy="910029"/>
            </a:xfrm>
            <a:prstGeom prst="rect">
              <a:avLst/>
            </a:prstGeom>
          </p:spPr>
        </p:pic>
      </p:grpSp>
      <p:pic>
        <p:nvPicPr>
          <p:cNvPr id="13" name="Graphic 12" descr="Схема значка 1">
            <a:extLst>
              <a:ext uri="{FF2B5EF4-FFF2-40B4-BE49-F238E27FC236}">
                <a16:creationId xmlns:a16="http://schemas.microsoft.com/office/drawing/2014/main" id="{84614C25-ED30-90FB-7F03-ADD495C2281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1314" y="1217939"/>
            <a:ext cx="914400" cy="914400"/>
          </a:xfrm>
          <a:prstGeom prst="rect">
            <a:avLst/>
          </a:prstGeom>
        </p:spPr>
      </p:pic>
      <p:pic>
        <p:nvPicPr>
          <p:cNvPr id="15" name="Graphic 14" descr="Схема значка">
            <a:extLst>
              <a:ext uri="{FF2B5EF4-FFF2-40B4-BE49-F238E27FC236}">
                <a16:creationId xmlns:a16="http://schemas.microsoft.com/office/drawing/2014/main" id="{6507B8B4-E387-A844-BC08-949898BA625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2016" y="2457697"/>
            <a:ext cx="914400" cy="914400"/>
          </a:xfrm>
          <a:prstGeom prst="rect">
            <a:avLst/>
          </a:prstGeom>
        </p:spPr>
      </p:pic>
      <p:pic>
        <p:nvPicPr>
          <p:cNvPr id="17" name="Graphic 16" descr="Схема значка 3">
            <a:extLst>
              <a:ext uri="{FF2B5EF4-FFF2-40B4-BE49-F238E27FC236}">
                <a16:creationId xmlns:a16="http://schemas.microsoft.com/office/drawing/2014/main" id="{5E859927-6B73-4401-110D-71CFAB61E98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92016" y="3920379"/>
            <a:ext cx="914400" cy="914400"/>
          </a:xfrm>
          <a:prstGeom prst="rect">
            <a:avLst/>
          </a:prstGeom>
        </p:spPr>
      </p:pic>
      <p:pic>
        <p:nvPicPr>
          <p:cNvPr id="19" name="Graphic 18" descr="Схема значка 4">
            <a:extLst>
              <a:ext uri="{FF2B5EF4-FFF2-40B4-BE49-F238E27FC236}">
                <a16:creationId xmlns:a16="http://schemas.microsoft.com/office/drawing/2014/main" id="{6BA10627-0881-7F0B-B706-19EEA7F0B01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92016" y="5273147"/>
            <a:ext cx="914400" cy="914400"/>
          </a:xfrm>
          <a:prstGeom prst="rect">
            <a:avLst/>
          </a:prstGeom>
        </p:spPr>
      </p:pic>
      <p:sp>
        <p:nvSpPr>
          <p:cNvPr id="3" name="Right Brace 2">
            <a:extLst>
              <a:ext uri="{FF2B5EF4-FFF2-40B4-BE49-F238E27FC236}">
                <a16:creationId xmlns:a16="http://schemas.microsoft.com/office/drawing/2014/main" id="{C6AA0EE3-2A92-3E9D-260D-1B61BCF23343}"/>
              </a:ext>
            </a:extLst>
          </p:cNvPr>
          <p:cNvSpPr/>
          <p:nvPr/>
        </p:nvSpPr>
        <p:spPr>
          <a:xfrm>
            <a:off x="9935570" y="1178632"/>
            <a:ext cx="382137" cy="194670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B91E08-0947-C615-6182-347C19955230}"/>
              </a:ext>
            </a:extLst>
          </p:cNvPr>
          <p:cNvSpPr txBox="1"/>
          <p:nvPr/>
        </p:nvSpPr>
        <p:spPr>
          <a:xfrm>
            <a:off x="10493583" y="1971231"/>
            <a:ext cx="1503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ru-RU" b="0" i="0" u="none" baseline="0" dirty="0"/>
              <a:t>Итеративно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732602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248356" y="270934"/>
            <a:ext cx="11243557" cy="6107288"/>
          </a:xfrm>
        </p:spPr>
        <p:txBody>
          <a:bodyPr>
            <a:normAutofit/>
          </a:bodyPr>
          <a:lstStyle/>
          <a:p>
            <a:pPr algn="just"/>
            <a:r>
              <a:rPr lang="ru-RU" dirty="0" smtClean="0"/>
              <a:t>Средства ГФ для продолжения программы меньше </a:t>
            </a:r>
            <a:r>
              <a:rPr lang="ru-RU" dirty="0"/>
              <a:t>примерно на 20% в год (с 9,9 в текущих грант до 7,8 млн долларов США для следующего цикла). СКК осознает, что ресурсы, необходимые для завершения двух эпидемий больше, чем в настоящее время. </a:t>
            </a:r>
            <a:endParaRPr lang="ru-RU" dirty="0" smtClean="0"/>
          </a:p>
          <a:p>
            <a:pPr algn="just"/>
            <a:r>
              <a:rPr lang="ru-RU" dirty="0" smtClean="0"/>
              <a:t>На </a:t>
            </a:r>
            <a:r>
              <a:rPr lang="ru-RU" dirty="0"/>
              <a:t>основе модели </a:t>
            </a:r>
            <a:r>
              <a:rPr lang="ru-RU" dirty="0" smtClean="0"/>
              <a:t>«</a:t>
            </a:r>
            <a:r>
              <a:rPr lang="ru-RU" dirty="0" err="1"/>
              <a:t>Оптима</a:t>
            </a:r>
            <a:r>
              <a:rPr lang="ru-RU" dirty="0"/>
              <a:t>», если не </a:t>
            </a:r>
            <a:r>
              <a:rPr lang="ru-RU" dirty="0" smtClean="0"/>
              <a:t>продолжить существующие усилия начатые в </a:t>
            </a:r>
            <a:r>
              <a:rPr lang="ru-RU" dirty="0"/>
              <a:t>2014 году, распространенность ВИЧ-инфекции увеличится с 0,17% до 0,46%, в то время как число новых случаев </a:t>
            </a:r>
            <a:r>
              <a:rPr lang="ru-RU" dirty="0" smtClean="0"/>
              <a:t>ВИЧ возрастет </a:t>
            </a:r>
            <a:r>
              <a:rPr lang="ru-RU" dirty="0"/>
              <a:t>до 20700, а количество смертей достигнет 5,600 к 2020 </a:t>
            </a:r>
            <a:r>
              <a:rPr lang="ru-RU" dirty="0" smtClean="0"/>
              <a:t>году. </a:t>
            </a:r>
            <a:r>
              <a:rPr lang="ru-RU" dirty="0"/>
              <a:t>О</a:t>
            </a:r>
            <a:r>
              <a:rPr lang="ru-RU" dirty="0" smtClean="0"/>
              <a:t>ценка </a:t>
            </a:r>
            <a:r>
              <a:rPr lang="ru-RU" dirty="0"/>
              <a:t>инвестиций предполагает </a:t>
            </a:r>
            <a:r>
              <a:rPr lang="ru-RU" dirty="0" smtClean="0"/>
              <a:t>необходимость изменения </a:t>
            </a:r>
            <a:r>
              <a:rPr lang="ru-RU" dirty="0"/>
              <a:t>структуры расходов в рамках национальных программ по ТБ и ВИЧ за счет снижения затрат на управление, поддержание по крайней мере, </a:t>
            </a:r>
            <a:r>
              <a:rPr lang="ru-RU" dirty="0" smtClean="0"/>
              <a:t>тех же затрат </a:t>
            </a:r>
            <a:r>
              <a:rPr lang="ru-RU" dirty="0"/>
              <a:t>на профилактику и увеличение объема инвестиций в </a:t>
            </a:r>
            <a:r>
              <a:rPr lang="ru-RU" dirty="0" smtClean="0"/>
              <a:t>лечение </a:t>
            </a:r>
            <a:r>
              <a:rPr lang="ru-RU" dirty="0"/>
              <a:t>(особенно АРТ). </a:t>
            </a:r>
            <a:r>
              <a:rPr lang="ru-RU" dirty="0">
                <a:solidFill>
                  <a:srgbClr val="FF0000"/>
                </a:solidFill>
              </a:rPr>
              <a:t>Предварительные расчеты по плану перехода </a:t>
            </a:r>
            <a:r>
              <a:rPr lang="ru-RU" dirty="0" smtClean="0">
                <a:solidFill>
                  <a:srgbClr val="FF0000"/>
                </a:solidFill>
              </a:rPr>
              <a:t>выявил </a:t>
            </a:r>
            <a:r>
              <a:rPr lang="ru-RU" dirty="0">
                <a:solidFill>
                  <a:srgbClr val="FF0000"/>
                </a:solidFill>
              </a:rPr>
              <a:t>дефицит около 3,8 млн долларов США. В результате, </a:t>
            </a:r>
            <a:r>
              <a:rPr lang="ru-RU" dirty="0" smtClean="0">
                <a:solidFill>
                  <a:srgbClr val="FF0000"/>
                </a:solidFill>
              </a:rPr>
              <a:t>Правительством КР взято предварительное </a:t>
            </a:r>
            <a:r>
              <a:rPr lang="ru-RU" dirty="0">
                <a:solidFill>
                  <a:srgbClr val="FF0000"/>
                </a:solidFill>
              </a:rPr>
              <a:t>обязательство </a:t>
            </a:r>
            <a:r>
              <a:rPr lang="ru-RU" dirty="0" smtClean="0">
                <a:solidFill>
                  <a:srgbClr val="FF0000"/>
                </a:solidFill>
              </a:rPr>
              <a:t>включить </a:t>
            </a:r>
            <a:r>
              <a:rPr lang="ru-RU" dirty="0">
                <a:solidFill>
                  <a:srgbClr val="FF0000"/>
                </a:solidFill>
              </a:rPr>
              <a:t>дополнительные 100 миллионов сомов (эквивалент 1,4 млн долларов) в год на закупку медикаментов и лабораторных материалов. Кроме того, было </a:t>
            </a:r>
            <a:r>
              <a:rPr lang="ru-RU" dirty="0" smtClean="0">
                <a:solidFill>
                  <a:srgbClr val="FF0000"/>
                </a:solidFill>
              </a:rPr>
              <a:t>заявлено </a:t>
            </a:r>
            <a:r>
              <a:rPr lang="ru-RU" dirty="0">
                <a:solidFill>
                  <a:srgbClr val="FF0000"/>
                </a:solidFill>
              </a:rPr>
              <a:t>о пилотных социальных </a:t>
            </a:r>
            <a:r>
              <a:rPr lang="ru-RU" dirty="0" smtClean="0">
                <a:solidFill>
                  <a:srgbClr val="FF0000"/>
                </a:solidFill>
              </a:rPr>
              <a:t>проектах через НПО.- ?????????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68541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-1" y="112889"/>
            <a:ext cx="11875911" cy="6581422"/>
          </a:xfrm>
        </p:spPr>
        <p:txBody>
          <a:bodyPr>
            <a:normAutofit fontScale="85000" lnSpcReduction="20000"/>
          </a:bodyPr>
          <a:lstStyle/>
          <a:p>
            <a:pPr algn="just"/>
            <a:r>
              <a:rPr lang="ru-RU" dirty="0" smtClean="0"/>
              <a:t>Для обеспечения устойчивости программ на переходный период и политики </a:t>
            </a:r>
            <a:r>
              <a:rPr lang="ru-RU" dirty="0" err="1"/>
              <a:t>софинансирования</a:t>
            </a:r>
            <a:r>
              <a:rPr lang="ru-RU" dirty="0" smtClean="0"/>
              <a:t> ГФ, </a:t>
            </a:r>
            <a:r>
              <a:rPr lang="ru-RU" dirty="0"/>
              <a:t>Кыргызстан инициировал </a:t>
            </a:r>
            <a:r>
              <a:rPr lang="ru-RU" dirty="0" smtClean="0"/>
              <a:t>план по переходу на государственное финансирование программ ВИЧ и ТБ. </a:t>
            </a:r>
            <a:r>
              <a:rPr lang="ru-RU" dirty="0"/>
              <a:t>По этой причине, </a:t>
            </a:r>
            <a:r>
              <a:rPr lang="ru-RU" dirty="0" smtClean="0"/>
              <a:t>было определено несколько стратегий: реструктуризация </a:t>
            </a:r>
            <a:r>
              <a:rPr lang="ru-RU" dirty="0"/>
              <a:t>больничного сектора (особенно в отношении борьбы с </a:t>
            </a:r>
            <a:r>
              <a:rPr lang="ru-RU" dirty="0" smtClean="0"/>
              <a:t>ТБ) </a:t>
            </a:r>
            <a:r>
              <a:rPr lang="ru-RU" dirty="0"/>
              <a:t>и переход к амбулаторной ориентированной на человека модели ухода; сократить дублирование услуг и дублирования в отношении ВИЧ </a:t>
            </a:r>
            <a:r>
              <a:rPr lang="ru-RU" dirty="0" smtClean="0"/>
              <a:t>на </a:t>
            </a:r>
            <a:r>
              <a:rPr lang="ru-RU" dirty="0"/>
              <a:t>районном уровне на основе междисциплинарного подхода; увеличить охват </a:t>
            </a:r>
            <a:r>
              <a:rPr lang="ru-RU" dirty="0" err="1" smtClean="0"/>
              <a:t>ФОМСа</a:t>
            </a:r>
            <a:r>
              <a:rPr lang="ru-RU" dirty="0" smtClean="0"/>
              <a:t> и включить </a:t>
            </a:r>
            <a:r>
              <a:rPr lang="ru-RU" dirty="0"/>
              <a:t>в себя услуги, связанные с диагностикой и лечением </a:t>
            </a:r>
            <a:r>
              <a:rPr lang="ru-RU" dirty="0" smtClean="0"/>
              <a:t>ТБ </a:t>
            </a:r>
            <a:r>
              <a:rPr lang="ru-RU" dirty="0"/>
              <a:t>и </a:t>
            </a:r>
            <a:r>
              <a:rPr lang="ru-RU" dirty="0" smtClean="0"/>
              <a:t>ВИЧ; </a:t>
            </a:r>
            <a:r>
              <a:rPr lang="ru-RU" dirty="0"/>
              <a:t>уделять приоритетное внимание финансированию </a:t>
            </a:r>
            <a:r>
              <a:rPr lang="ru-RU" dirty="0" smtClean="0"/>
              <a:t>МЗ в </a:t>
            </a:r>
            <a:r>
              <a:rPr lang="ru-RU" dirty="0"/>
              <a:t>рамках программ </a:t>
            </a:r>
            <a:r>
              <a:rPr lang="ru-RU" dirty="0" smtClean="0"/>
              <a:t>общественного </a:t>
            </a:r>
            <a:r>
              <a:rPr lang="ru-RU" dirty="0"/>
              <a:t>здравоохранения с упором на </a:t>
            </a:r>
            <a:r>
              <a:rPr lang="ru-RU" dirty="0" smtClean="0"/>
              <a:t>ТБ </a:t>
            </a:r>
            <a:r>
              <a:rPr lang="ru-RU" dirty="0"/>
              <a:t>и </a:t>
            </a:r>
            <a:r>
              <a:rPr lang="ru-RU" dirty="0" smtClean="0"/>
              <a:t>ВИЧ; заключение контрактов с НПО через </a:t>
            </a:r>
            <a:r>
              <a:rPr lang="ru-RU" dirty="0" err="1" smtClean="0"/>
              <a:t>госсоцзаказ</a:t>
            </a:r>
            <a:r>
              <a:rPr lang="ru-RU" dirty="0" smtClean="0"/>
              <a:t> и т.д. </a:t>
            </a:r>
          </a:p>
          <a:p>
            <a:pPr algn="just"/>
            <a:r>
              <a:rPr lang="ru-RU" dirty="0" smtClean="0"/>
              <a:t>Инвестиционная структура согласована с </a:t>
            </a:r>
            <a:r>
              <a:rPr lang="ru-RU" dirty="0"/>
              <a:t>инвестиционным руководством </a:t>
            </a:r>
            <a:r>
              <a:rPr lang="ru-RU" dirty="0" smtClean="0"/>
              <a:t>ГФ для </a:t>
            </a:r>
            <a:r>
              <a:rPr lang="ru-RU" dirty="0"/>
              <a:t>ВЕЦА и </a:t>
            </a:r>
            <a:r>
              <a:rPr lang="ru-RU" dirty="0" smtClean="0"/>
              <a:t>планом </a:t>
            </a:r>
            <a:r>
              <a:rPr lang="ru-RU" dirty="0"/>
              <a:t>для четко определенных, ограниченных по срокам передачи ключевых мероприятий от внешнего к внутреннему финансированию с учетом постепенного перехода из следующих </a:t>
            </a:r>
            <a:r>
              <a:rPr lang="ru-RU" dirty="0" smtClean="0"/>
              <a:t>способов:</a:t>
            </a:r>
          </a:p>
          <a:p>
            <a:pPr algn="just"/>
            <a:r>
              <a:rPr lang="ru-RU" dirty="0"/>
              <a:t>• Профилактика среди </a:t>
            </a:r>
            <a:r>
              <a:rPr lang="ru-RU" dirty="0" smtClean="0"/>
              <a:t>КГН (ЛУИН, РС, МСМ, заключенные)</a:t>
            </a:r>
            <a:endParaRPr lang="ru-RU" dirty="0"/>
          </a:p>
          <a:p>
            <a:pPr algn="just"/>
            <a:r>
              <a:rPr lang="ru-RU" dirty="0"/>
              <a:t>• </a:t>
            </a:r>
            <a:r>
              <a:rPr lang="ru-RU" dirty="0" smtClean="0"/>
              <a:t>ППМР</a:t>
            </a:r>
            <a:endParaRPr lang="ru-RU" dirty="0"/>
          </a:p>
          <a:p>
            <a:pPr algn="just"/>
            <a:r>
              <a:rPr lang="ru-RU" dirty="0"/>
              <a:t>• Профилактические программы для населения в целом</a:t>
            </a:r>
          </a:p>
          <a:p>
            <a:pPr algn="just"/>
            <a:r>
              <a:rPr lang="ru-RU" dirty="0"/>
              <a:t>• </a:t>
            </a:r>
            <a:r>
              <a:rPr lang="ru-RU" dirty="0" smtClean="0"/>
              <a:t>Тестирование </a:t>
            </a:r>
            <a:r>
              <a:rPr lang="ru-RU" dirty="0"/>
              <a:t>на ВИЧ </a:t>
            </a:r>
            <a:r>
              <a:rPr lang="ru-RU" dirty="0" smtClean="0"/>
              <a:t>и </a:t>
            </a:r>
            <a:r>
              <a:rPr lang="ru-RU" dirty="0"/>
              <a:t>скрининг ТБ</a:t>
            </a:r>
          </a:p>
          <a:p>
            <a:pPr algn="just"/>
            <a:r>
              <a:rPr lang="ru-RU" dirty="0"/>
              <a:t>• </a:t>
            </a:r>
            <a:r>
              <a:rPr lang="ru-RU" dirty="0" smtClean="0"/>
              <a:t>Качественная  диагностика </a:t>
            </a:r>
            <a:r>
              <a:rPr lang="ru-RU" dirty="0"/>
              <a:t>ВИЧ и ТБ</a:t>
            </a:r>
          </a:p>
          <a:p>
            <a:pPr algn="just"/>
            <a:r>
              <a:rPr lang="ru-RU" dirty="0"/>
              <a:t>• ТБ и АРВ-лечение </a:t>
            </a:r>
            <a:endParaRPr lang="ru-RU" dirty="0" smtClean="0"/>
          </a:p>
          <a:p>
            <a:pPr algn="just"/>
            <a:r>
              <a:rPr lang="ru-RU" dirty="0" smtClean="0"/>
              <a:t>• </a:t>
            </a:r>
            <a:r>
              <a:rPr lang="ru-RU" dirty="0"/>
              <a:t>Оказание помощи и поддержки людям с заболеваниями</a:t>
            </a:r>
          </a:p>
          <a:p>
            <a:pPr algn="just"/>
            <a:r>
              <a:rPr lang="ru-RU" dirty="0"/>
              <a:t>• </a:t>
            </a:r>
            <a:r>
              <a:rPr lang="ru-RU" dirty="0" smtClean="0"/>
              <a:t>Мониторинг </a:t>
            </a:r>
            <a:r>
              <a:rPr lang="ru-RU" dirty="0"/>
              <a:t>и оценка и интеграция ТБ и ВИЧ в информационную систему здравоохранения</a:t>
            </a:r>
          </a:p>
          <a:p>
            <a:pPr algn="just"/>
            <a:r>
              <a:rPr lang="ru-RU" dirty="0"/>
              <a:t>• Деятельность по наращиванию потенциала и подготовка кадров</a:t>
            </a:r>
          </a:p>
          <a:p>
            <a:pPr algn="just"/>
            <a:r>
              <a:rPr lang="ru-RU" dirty="0"/>
              <a:t>• </a:t>
            </a:r>
            <a:r>
              <a:rPr lang="ru-RU" dirty="0" smtClean="0"/>
              <a:t>Планирование </a:t>
            </a:r>
            <a:r>
              <a:rPr lang="ru-RU" dirty="0"/>
              <a:t>и администрирование программы</a:t>
            </a:r>
          </a:p>
          <a:p>
            <a:pPr algn="just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688108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383822" y="519289"/>
            <a:ext cx="11435644" cy="5971821"/>
          </a:xfrm>
        </p:spPr>
        <p:txBody>
          <a:bodyPr>
            <a:normAutofit fontScale="92500" lnSpcReduction="20000"/>
          </a:bodyPr>
          <a:lstStyle/>
          <a:p>
            <a:pPr algn="just"/>
            <a:r>
              <a:rPr lang="ru-RU" dirty="0" smtClean="0"/>
              <a:t>Текущий грант ВИЧ/ТБ и </a:t>
            </a:r>
            <a:r>
              <a:rPr lang="ru-RU" dirty="0"/>
              <a:t>ее продолжение будет способствовать </a:t>
            </a:r>
            <a:r>
              <a:rPr lang="ru-RU" dirty="0" smtClean="0"/>
              <a:t>заполнению пробелов и окажет помощь </a:t>
            </a:r>
            <a:r>
              <a:rPr lang="ru-RU" dirty="0"/>
              <a:t>национальным </a:t>
            </a:r>
            <a:r>
              <a:rPr lang="ru-RU" dirty="0" smtClean="0"/>
              <a:t>программам по ТБ </a:t>
            </a:r>
            <a:r>
              <a:rPr lang="ru-RU" dirty="0"/>
              <a:t>и </a:t>
            </a:r>
            <a:r>
              <a:rPr lang="ru-RU" dirty="0" smtClean="0"/>
              <a:t>ВИЧ при переходе на государственное финансирование </a:t>
            </a:r>
            <a:r>
              <a:rPr lang="ru-RU" dirty="0"/>
              <a:t>важнейших мероприятий, таких как:</a:t>
            </a:r>
          </a:p>
          <a:p>
            <a:pPr algn="just"/>
            <a:r>
              <a:rPr lang="ru-RU" dirty="0"/>
              <a:t>• Обеспечение выявления случаев заболевания и всеобщий охват диагностики и лечения ЛУ-ТБ</a:t>
            </a:r>
          </a:p>
          <a:p>
            <a:pPr algn="just"/>
            <a:r>
              <a:rPr lang="ru-RU" dirty="0"/>
              <a:t>• Р</a:t>
            </a:r>
            <a:r>
              <a:rPr lang="ru-RU" dirty="0" smtClean="0"/>
              <a:t>асширение </a:t>
            </a:r>
            <a:r>
              <a:rPr lang="ru-RU" dirty="0"/>
              <a:t>масштабов обмена игл и шприцев и программы </a:t>
            </a:r>
            <a:r>
              <a:rPr lang="ru-RU" dirty="0" smtClean="0"/>
              <a:t>ОЗТ</a:t>
            </a:r>
            <a:endParaRPr lang="ru-RU" dirty="0"/>
          </a:p>
          <a:p>
            <a:pPr algn="just"/>
            <a:r>
              <a:rPr lang="ru-RU" dirty="0"/>
              <a:t>• </a:t>
            </a:r>
            <a:r>
              <a:rPr lang="ru-RU" dirty="0" smtClean="0"/>
              <a:t>Программы </a:t>
            </a:r>
            <a:r>
              <a:rPr lang="ru-RU" dirty="0"/>
              <a:t>для работников </a:t>
            </a:r>
            <a:r>
              <a:rPr lang="ru-RU" dirty="0" smtClean="0"/>
              <a:t>секс-бизнеса</a:t>
            </a:r>
          </a:p>
          <a:p>
            <a:pPr algn="just"/>
            <a:r>
              <a:rPr lang="ru-RU" dirty="0" smtClean="0"/>
              <a:t>• Программы </a:t>
            </a:r>
            <a:r>
              <a:rPr lang="ru-RU" dirty="0"/>
              <a:t>для МСМ</a:t>
            </a:r>
          </a:p>
          <a:p>
            <a:pPr algn="just"/>
            <a:r>
              <a:rPr lang="ru-RU" dirty="0"/>
              <a:t>• </a:t>
            </a:r>
            <a:r>
              <a:rPr lang="ru-RU" dirty="0" smtClean="0"/>
              <a:t>Профилактические программы </a:t>
            </a:r>
            <a:r>
              <a:rPr lang="ru-RU" dirty="0"/>
              <a:t>для заключенных</a:t>
            </a:r>
          </a:p>
          <a:p>
            <a:pPr algn="just"/>
            <a:r>
              <a:rPr lang="ru-RU" dirty="0"/>
              <a:t>• </a:t>
            </a:r>
            <a:r>
              <a:rPr lang="ru-RU" dirty="0" smtClean="0"/>
              <a:t>Тестирование на ВИЧ </a:t>
            </a:r>
            <a:r>
              <a:rPr lang="ru-RU" dirty="0"/>
              <a:t>и вирусные гепатиты и консультирование </a:t>
            </a:r>
            <a:r>
              <a:rPr lang="ru-RU" dirty="0" smtClean="0"/>
              <a:t>КГН</a:t>
            </a:r>
            <a:endParaRPr lang="ru-RU" dirty="0"/>
          </a:p>
          <a:p>
            <a:pPr algn="just"/>
            <a:r>
              <a:rPr lang="ru-RU" dirty="0"/>
              <a:t>• Обеспечить всеобщий </a:t>
            </a:r>
            <a:r>
              <a:rPr lang="ru-RU" dirty="0" smtClean="0"/>
              <a:t> охват АРТ </a:t>
            </a:r>
            <a:r>
              <a:rPr lang="ru-RU" dirty="0"/>
              <a:t>и </a:t>
            </a:r>
            <a:r>
              <a:rPr lang="ru-RU" dirty="0" smtClean="0"/>
              <a:t>мониторинг лечения</a:t>
            </a:r>
            <a:endParaRPr lang="ru-RU" dirty="0"/>
          </a:p>
          <a:p>
            <a:pPr algn="just"/>
            <a:r>
              <a:rPr lang="ru-RU" dirty="0"/>
              <a:t>• Обеспечить профилактику вертикальной передачи ВИЧ-инфекции</a:t>
            </a:r>
          </a:p>
          <a:p>
            <a:pPr algn="just"/>
            <a:r>
              <a:rPr lang="ru-RU" dirty="0"/>
              <a:t>• Предоставление консультирования и психосоциальной поддержки для </a:t>
            </a:r>
            <a:r>
              <a:rPr lang="ru-RU" dirty="0" smtClean="0"/>
              <a:t>ЛЖВ</a:t>
            </a:r>
            <a:endParaRPr lang="ru-RU" dirty="0"/>
          </a:p>
          <a:p>
            <a:pPr algn="just"/>
            <a:r>
              <a:rPr lang="ru-RU" dirty="0"/>
              <a:t>• Создание благоприятных условий для целевых </a:t>
            </a:r>
            <a:r>
              <a:rPr lang="ru-RU" dirty="0" smtClean="0"/>
              <a:t>базовых </a:t>
            </a:r>
            <a:r>
              <a:rPr lang="ru-RU" dirty="0"/>
              <a:t>мероприятий</a:t>
            </a:r>
          </a:p>
          <a:p>
            <a:pPr algn="just"/>
            <a:r>
              <a:rPr lang="ru-RU" dirty="0"/>
              <a:t>• </a:t>
            </a:r>
            <a:r>
              <a:rPr lang="ru-RU" dirty="0" smtClean="0"/>
              <a:t>Поддерживать регулярную отчетность, </a:t>
            </a:r>
            <a:r>
              <a:rPr lang="ru-RU" dirty="0"/>
              <a:t>включая </a:t>
            </a:r>
            <a:r>
              <a:rPr lang="ru-RU" dirty="0" err="1" smtClean="0"/>
              <a:t>эпиднадзор</a:t>
            </a:r>
            <a:r>
              <a:rPr lang="ru-RU" dirty="0" smtClean="0"/>
              <a:t> </a:t>
            </a:r>
            <a:r>
              <a:rPr lang="ru-RU" dirty="0"/>
              <a:t>второго поколения</a:t>
            </a:r>
          </a:p>
          <a:p>
            <a:pPr algn="just"/>
            <a:r>
              <a:rPr lang="ru-RU" dirty="0"/>
              <a:t>• Укрепление и вовлечение общин в ответ на болезни</a:t>
            </a:r>
          </a:p>
          <a:p>
            <a:pPr algn="just"/>
            <a:r>
              <a:rPr lang="ru-RU" dirty="0"/>
              <a:t>• Улучшение </a:t>
            </a:r>
            <a:r>
              <a:rPr lang="ru-RU" dirty="0" smtClean="0"/>
              <a:t>координации </a:t>
            </a:r>
            <a:r>
              <a:rPr lang="ru-RU" dirty="0"/>
              <a:t>и управление </a:t>
            </a:r>
            <a:r>
              <a:rPr lang="ru-RU" dirty="0" smtClean="0"/>
              <a:t>национальной программой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9645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43892B-3EEB-8B0F-EE0C-AE73682042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843892B-3EEB-8B0F-EE0C-AE73682042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ECC039-68D1-E8F3-E718-E09034ACE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/>
            <a:fld id="{9E2BE927-25C7-4379-86F1-C17ED9D2A7F2}" type="slidenum">
              <a:rPr/>
              <a:pPr algn="r" rtl="0"/>
              <a:t>5</a:t>
            </a:fld>
            <a:endParaRPr lang="ru-R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11FA79B-3F51-FEE0-4152-E281D2169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l" rtl="0"/>
            <a:r>
              <a:rPr lang="ru-RU" sz="2800" dirty="0"/>
              <a:t>Критически важные компоненты программ </a:t>
            </a:r>
            <a:r>
              <a:rPr lang="fr-CH" sz="2800" dirty="0"/>
              <a:t>: </a:t>
            </a:r>
            <a:r>
              <a:rPr lang="ru-RU" sz="2800" b="0" i="0" u="none" baseline="0" dirty="0"/>
              <a:t>Примеры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A90CF0-A032-A7DF-03A7-E3D197C6A94A}"/>
              </a:ext>
            </a:extLst>
          </p:cNvPr>
          <p:cNvSpPr txBox="1"/>
          <p:nvPr/>
        </p:nvSpPr>
        <p:spPr>
          <a:xfrm>
            <a:off x="669933" y="5704674"/>
            <a:ext cx="1085176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>
              <a:spcBef>
                <a:spcPts val="0"/>
              </a:spcBef>
              <a:buClr>
                <a:srgbClr val="5F5F5F">
                  <a:lumMod val="60000"/>
                  <a:lumOff val="40000"/>
                </a:srgbClr>
              </a:buClr>
              <a:defRPr/>
            </a:pPr>
            <a:r>
              <a:rPr lang="ru-RU" sz="1400" b="0" i="1" u="none" baseline="0" dirty="0"/>
              <a:t>Полный перечень Критически важных компонентов программ в отношении каждого заболевания см. в опубликованных информационных бюллетенях </a:t>
            </a:r>
            <a:r>
              <a:rPr lang="ru-RU" sz="1400" b="0" i="1" u="none" baseline="0" dirty="0">
                <a:hlinkClick r:id="rId6"/>
              </a:rPr>
              <a:t>по ВИЧ</a:t>
            </a:r>
            <a:r>
              <a:rPr lang="ru-RU" sz="1400" b="0" i="1" u="none" baseline="0" dirty="0"/>
              <a:t> / </a:t>
            </a:r>
            <a:r>
              <a:rPr lang="ru-RU" sz="1400" b="0" i="1" u="none" baseline="0" dirty="0">
                <a:hlinkClick r:id="rId7"/>
              </a:rPr>
              <a:t>туберкулезу.</a:t>
            </a:r>
            <a:r>
              <a:rPr lang="ru-RU" sz="1400" b="0" i="0" u="none" baseline="0" dirty="0"/>
              <a:t> </a:t>
            </a:r>
          </a:p>
          <a:p>
            <a:pPr algn="l" rtl="0"/>
            <a:r>
              <a:rPr lang="ru-RU" sz="1400" b="0" i="0" u="none" baseline="0" dirty="0"/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1B8AD7-144C-52AF-EA90-83596AED4FA1}"/>
              </a:ext>
            </a:extLst>
          </p:cNvPr>
          <p:cNvSpPr/>
          <p:nvPr/>
        </p:nvSpPr>
        <p:spPr>
          <a:xfrm>
            <a:off x="845224" y="1399610"/>
            <a:ext cx="4464906" cy="4031711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14FAEB0-1664-39D9-494B-2C1BC7581231}"/>
              </a:ext>
            </a:extLst>
          </p:cNvPr>
          <p:cNvSpPr/>
          <p:nvPr/>
        </p:nvSpPr>
        <p:spPr>
          <a:xfrm>
            <a:off x="5991061" y="1404751"/>
            <a:ext cx="4770497" cy="403171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1328AF9-9A26-737B-BC14-8FCFBBE64715}"/>
              </a:ext>
            </a:extLst>
          </p:cNvPr>
          <p:cNvSpPr/>
          <p:nvPr/>
        </p:nvSpPr>
        <p:spPr>
          <a:xfrm>
            <a:off x="845224" y="1401451"/>
            <a:ext cx="4464906" cy="468000"/>
          </a:xfrm>
          <a:prstGeom prst="rect">
            <a:avLst/>
          </a:prstGeom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ru-RU" b="1" i="0" u="none" baseline="0" dirty="0"/>
              <a:t>ВИЧ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3A5B37-4215-1BB2-766B-9C619D81E59B}"/>
              </a:ext>
            </a:extLst>
          </p:cNvPr>
          <p:cNvSpPr/>
          <p:nvPr/>
        </p:nvSpPr>
        <p:spPr>
          <a:xfrm>
            <a:off x="5991061" y="1421538"/>
            <a:ext cx="4770496" cy="468000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ru-RU" b="1" i="0" u="none" baseline="0" dirty="0"/>
              <a:t>Туберкулез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015A27FF-BB8D-DE07-D7EE-83DB4A7851F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5224" y="903058"/>
            <a:ext cx="396734" cy="396734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2ECAF641-9FBC-BB28-A19B-025017ADD2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91061" y="891716"/>
            <a:ext cx="396734" cy="39673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0124C039-926A-F19D-4AAE-F8A500F2F40B}"/>
              </a:ext>
            </a:extLst>
          </p:cNvPr>
          <p:cNvSpPr txBox="1"/>
          <p:nvPr/>
        </p:nvSpPr>
        <p:spPr>
          <a:xfrm>
            <a:off x="6095818" y="1869451"/>
            <a:ext cx="4560984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2880" indent="-18288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i="0" u="none" baseline="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/>
              </a:rPr>
              <a:t>Систематический скрининг на туберкулез для лиц, подверженных наибольшему риску (ключевые и уязвимые группы населения), в том числе с использованием рентгенографии грудной клетки с применением или без применения системы компьютерного поиска.</a:t>
            </a:r>
            <a:r>
              <a:rPr lang="ru-RU" sz="1400" b="0" i="0" u="none" baseline="0" dirty="0">
                <a:solidFill>
                  <a:srgbClr val="000000"/>
                </a:solidFill>
                <a:ea typeface="Times New Roman" panose="02020603050405020304" pitchFamily="18" charset="0"/>
                <a:cs typeface="Arial"/>
              </a:rPr>
              <a:t> </a:t>
            </a:r>
            <a:endParaRPr lang="ru-RU" sz="1400" dirty="0">
              <a:solidFill>
                <a:srgbClr val="000000"/>
              </a:solidFill>
              <a:effectLst/>
              <a:ea typeface="Times New Roman" panose="02020603050405020304" pitchFamily="18" charset="0"/>
              <a:cs typeface="Arial"/>
            </a:endParaRPr>
          </a:p>
          <a:p>
            <a:pPr marL="182880" indent="-18288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i="0" u="none" baseline="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rial"/>
              </a:rPr>
              <a:t>Все люди, живущие с ВИЧ и активной формой туберкулеза, начинают получать АРВ-терапию как можно раньше в соответствии с рекомендациями.</a:t>
            </a:r>
          </a:p>
          <a:p>
            <a:pPr marL="182880" indent="-18288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i="0" u="none" baseline="0" dirty="0">
                <a:latin typeface="+mn-lt"/>
                <a:ea typeface="+mn-lt"/>
                <a:cs typeface="+mn-lt"/>
              </a:rPr>
              <a:t>Многолетний план по обеспечению всеобщего использования экспресс-молекулярных анализов в качестве первоначального теста для диагностики туберкулеза у всех людей с подозрением на туберкулез, реализация которого осуществляется по плану.</a:t>
            </a:r>
            <a:endParaRPr lang="ru-RU" sz="1400" dirty="0">
              <a:effectLst/>
              <a:ea typeface="Arial" panose="020B0604020202020204" pitchFamily="34" charset="0"/>
              <a:cs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C51C89D-15DD-F1C1-555A-CFCE3DE38C5C}"/>
              </a:ext>
            </a:extLst>
          </p:cNvPr>
          <p:cNvSpPr txBox="1"/>
          <p:nvPr/>
        </p:nvSpPr>
        <p:spPr>
          <a:xfrm>
            <a:off x="993179" y="1913461"/>
            <a:ext cx="4206781" cy="326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880" marR="0" lvl="0" indent="-182880" algn="l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</a:pPr>
            <a:r>
              <a: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Доконтактная профилактика (ДКП)</a:t>
            </a:r>
            <a:r>
              <a:rPr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доступна всем людям</a:t>
            </a:r>
            <a:r>
              <a: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с повышенным риском заражения ВИЧ, а постконтактная профилактика (ПКП) доступна для тех, кто отвечает критериям.</a:t>
            </a:r>
            <a:r>
              <a:rPr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 </a:t>
            </a:r>
          </a:p>
          <a:p>
            <a:pPr marL="182880" indent="-18288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Быстрое начало АРТ происходит после постановки подтвержденного диагноза ВИЧ</a:t>
            </a:r>
            <a:r>
              <a:rPr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для</a:t>
            </a:r>
            <a:r>
              <a: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всех людей, независимо от возраста, пола или гендерной ориентации.</a:t>
            </a:r>
            <a:r>
              <a:rPr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 </a:t>
            </a:r>
            <a:endParaRPr lang="ru-RU" sz="1400" dirty="0">
              <a:solidFill>
                <a:schemeClr val="tx1">
                  <a:lumMod val="50000"/>
                </a:schemeClr>
              </a:solidFill>
            </a:endParaRPr>
          </a:p>
          <a:p>
            <a:pPr marL="182880" indent="-182880" algn="l" rtl="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Ответные меры для ключевых и уязвимых групп населения включают мероприятия, направленные на снижение барьеров, связанных с правами человека и гендерными факторами.</a:t>
            </a:r>
          </a:p>
        </p:txBody>
      </p:sp>
    </p:spTree>
    <p:extLst>
      <p:ext uri="{BB962C8B-B14F-4D97-AF65-F5344CB8AC3E}">
        <p14:creationId xmlns:p14="http://schemas.microsoft.com/office/powerpoint/2010/main" val="17650992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9FB922-437F-424F-878D-C2C4A3A68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350" y="94614"/>
            <a:ext cx="12058650" cy="1325563"/>
          </a:xfrm>
        </p:spPr>
        <p:txBody>
          <a:bodyPr>
            <a:normAutofit fontScale="90000"/>
          </a:bodyPr>
          <a:lstStyle/>
          <a:p>
            <a:pPr algn="l" rtl="0"/>
            <a:r>
              <a:rPr lang="ru-RU" sz="2800" b="1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Критически важные компоненты программ включены</a:t>
            </a:r>
            <a:br>
              <a:rPr lang="ru-RU" sz="2800" b="1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b="1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в качестве одного из многих средств для определения приоритетов стран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CD5540-C507-4A0B-8213-FEDC58DBABB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55600" y="1568768"/>
            <a:ext cx="11612879" cy="34672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marR="0" indent="0" algn="l" rtl="0">
              <a:lnSpc>
                <a:spcPts val="17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600" b="0" i="0" u="none" baseline="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В Критически важных компонентах программ описаны программные элементы («ЧТО»), которые, как ожидается, будут представлены в рамках национальных программ, поддерживаемых Глобальным фондом (независимо от того, кто финансирует этот элемент). Основные положения программ:</a:t>
            </a:r>
          </a:p>
          <a:p>
            <a:pPr marL="342900" marR="0" lvl="0" indent="-342900" algn="l" rtl="0">
              <a:lnSpc>
                <a:spcPts val="17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ru-RU" sz="1600" b="0" i="0" u="none" baseline="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настоятельно рекомендованы техническими партнерами (ВОЗ/ЮНЭЙДС) и дополнительно описаны в их технических руководствах;</a:t>
            </a:r>
          </a:p>
          <a:p>
            <a:pPr marL="342900" indent="-342900" algn="l" rtl="0">
              <a:lnSpc>
                <a:spcPts val="17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ru-RU" sz="1600" b="0" i="0" u="none" baseline="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риентированы на важнейшие мероприятия, необходимые для достижения показателей долгосрочных результатов и воздействия, изложенных в Глобальной стратегии ЮНЭЙДС по СПИДу</a:t>
            </a:r>
            <a:r>
              <a:rPr lang="ru-RU" sz="1600" b="0" i="0" u="none" baseline="0" dirty="0">
                <a:solidFill>
                  <a:srgbClr val="2E4DF9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i="0" u="none" baseline="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на 2021-2026 гг.; Глобальных стратегиях ВОЗ для сектора здравоохранения на 2022-2030 гг. по ВИЧ, вирусным гепатитам и инфекциям, передаваемым половым путем; Глобальном плане по ликвидации туберкулеза на 2023-2030 гг. и Стратегии Глобального фонда на 2023-2028 гг.;</a:t>
            </a:r>
            <a:r>
              <a:rPr lang="ru-RU" sz="16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ru-RU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 rtl="0">
              <a:lnSpc>
                <a:spcPts val="17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ru-RU" sz="1600" b="0" i="0" u="none" baseline="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имеют решающее значение для обеспечения справедливого доступа к высокоэффективным мероприятиям для людей, которые в них больше всего нуждаются.</a:t>
            </a:r>
          </a:p>
          <a:p>
            <a:pPr marL="0" indent="0" algn="l" rtl="0">
              <a:lnSpc>
                <a:spcPts val="17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600" b="0" i="0" u="none" baseline="0" dirty="0"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Особое внимание правам человека, гендерным аспектам и ответным мерам на уровне сообществ включено в основные положения программ по конкретным заболеваниям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D0AB90-0C73-4774-A9EC-874C0475A203}"/>
              </a:ext>
            </a:extLst>
          </p:cNvPr>
          <p:cNvSpPr txBox="1"/>
          <p:nvPr/>
        </p:nvSpPr>
        <p:spPr>
          <a:xfrm>
            <a:off x="355599" y="5289232"/>
            <a:ext cx="11612879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>
              <a:lnSpc>
                <a:spcPts val="2000"/>
              </a:lnSpc>
            </a:pPr>
            <a:r>
              <a:rPr lang="ru-RU" b="0" i="0" u="none" baseline="0" dirty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Цель: </a:t>
            </a:r>
          </a:p>
          <a:p>
            <a:pPr marL="285750" indent="-285750" algn="l" rtl="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ru-RU" b="0" i="0" u="none" baseline="0" dirty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беспечить платформу для дискуссий, направленных на повышение качества страновых программ в целом.</a:t>
            </a:r>
          </a:p>
          <a:p>
            <a:pPr marL="285750" indent="-285750" algn="l" rtl="0">
              <a:lnSpc>
                <a:spcPts val="2000"/>
              </a:lnSpc>
              <a:buFont typeface="Arial" panose="020B0604020202020204" pitchFamily="34" charset="0"/>
              <a:buChar char="•"/>
            </a:pPr>
            <a:r>
              <a:rPr lang="ru-RU" b="0" i="1" u="sng" baseline="0" dirty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Не предназначены для использования в качестве показателя эффективности</a:t>
            </a:r>
            <a:r>
              <a:rPr lang="ru-RU" b="0" i="0" u="none" baseline="0" dirty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(и не включены в механизм финансирования по результатам).</a:t>
            </a:r>
          </a:p>
        </p:txBody>
      </p:sp>
    </p:spTree>
    <p:extLst>
      <p:ext uri="{BB962C8B-B14F-4D97-AF65-F5344CB8AC3E}">
        <p14:creationId xmlns:p14="http://schemas.microsoft.com/office/powerpoint/2010/main" val="88537398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F3119B-BCF3-43AE-B8EF-BB500DE9E51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r" rtl="0"/>
            <a:fld id="{9E2BE927-25C7-4379-86F1-C17ED9D2A7F2}" type="slidenum">
              <a:rPr/>
              <a:pPr algn="r" rtl="0"/>
              <a:t>7</a:t>
            </a:fld>
            <a:endParaRPr lang="ru-RU" dirty="0"/>
          </a:p>
        </p:txBody>
      </p:sp>
      <p:sp>
        <p:nvSpPr>
          <p:cNvPr id="22" name="TextBox 1">
            <a:extLst>
              <a:ext uri="{FF2B5EF4-FFF2-40B4-BE49-F238E27FC236}">
                <a16:creationId xmlns:a16="http://schemas.microsoft.com/office/drawing/2014/main" id="{5FC77778-AF67-498F-B23D-8F8B103407D3}"/>
              </a:ext>
            </a:extLst>
          </p:cNvPr>
          <p:cNvSpPr txBox="1"/>
          <p:nvPr/>
        </p:nvSpPr>
        <p:spPr>
          <a:xfrm>
            <a:off x="360000" y="1243052"/>
            <a:ext cx="11471638" cy="493981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 rtl="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ru-RU" sz="20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Стратегия Глобального фонда на 2023-2028 гг. включает уделение особого </a:t>
            </a:r>
            <a:br>
              <a:rPr lang="ru-RU" sz="20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внимания вопросам справедливости.</a:t>
            </a:r>
          </a:p>
          <a:p>
            <a:pPr>
              <a:lnSpc>
                <a:spcPts val="2100"/>
              </a:lnSpc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 rtl="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ru-RU" sz="2000" b="1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Требования, содержащиеся в форме запроса:</a:t>
            </a:r>
            <a:r>
              <a:rPr lang="ru-RU" sz="20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в рамках требования о повышении эффективности использования денежных средств кандидаты должны показать, как программа, поддерживаемая Глобальным фондом, обеспечит максимальную справедливость в области здравоохранения. </a:t>
            </a:r>
          </a:p>
          <a:p>
            <a:pPr marL="800100" lvl="1" indent="-342900" algn="l" rtl="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ru-RU" sz="20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Где наблюдается наибольшая несправедливость в отношении доступа к услугам и результатов в области охраны здоровья (такие аспекты справедливости, как место жительства, этническая принадлежность, род занятий, гендерная принадлежность, пол, религия, образование, социально-экономический статус и социальный капитал)? </a:t>
            </a:r>
          </a:p>
          <a:p>
            <a:pPr marL="800100" lvl="1" indent="-342900" algn="l" rtl="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ru-RU" sz="20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Каковы основные причины справедливости и как программа будет их устранять?  </a:t>
            </a:r>
          </a:p>
          <a:p>
            <a:pPr marL="342900" indent="-342900" algn="l" rtl="0">
              <a:lnSpc>
                <a:spcPts val="2100"/>
              </a:lnSpc>
              <a:buFont typeface="Arial" panose="020B0604020202020204" pitchFamily="34" charset="0"/>
              <a:buChar char="•"/>
            </a:pP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l" rtl="0">
              <a:lnSpc>
                <a:spcPts val="2100"/>
              </a:lnSpc>
              <a:buFont typeface="Arial" panose="020B0604020202020204" pitchFamily="34" charset="0"/>
              <a:buChar char="•"/>
            </a:pPr>
            <a:r>
              <a:rPr lang="ru-RU" sz="2000" b="1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Новые ключевые показатели эффективности:</a:t>
            </a:r>
            <a:r>
              <a:rPr lang="ru-RU" sz="20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странам необходимо будет определить приоритетные области в рамках своего гранта (на основе указанного выше анализа вопросов справедливости), в которых они планируют уменьшить уровень несправедливости в отношении определенных маргинализированных групп населения. </a:t>
            </a:r>
          </a:p>
          <a:p>
            <a:pPr lvl="1" algn="l" rtl="0">
              <a:lnSpc>
                <a:spcPts val="2100"/>
              </a:lnSpc>
            </a:pPr>
            <a:r>
              <a:rPr lang="ru-RU" sz="20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767E610-5D12-6FEC-1B17-974FA1A879A3}"/>
              </a:ext>
            </a:extLst>
          </p:cNvPr>
          <p:cNvSpPr txBox="1">
            <a:spLocks/>
          </p:cNvSpPr>
          <p:nvPr/>
        </p:nvSpPr>
        <p:spPr>
          <a:xfrm>
            <a:off x="360000" y="273836"/>
            <a:ext cx="11471638" cy="4680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ru-RU" sz="2800" b="1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Повышенное внимание к вопросам справедливости  </a:t>
            </a:r>
          </a:p>
        </p:txBody>
      </p:sp>
      <p:pic>
        <p:nvPicPr>
          <p:cNvPr id="1026" name="Picture 2" descr="2,000+ Free Scales &amp; Balance Images - Pixabay">
            <a:extLst>
              <a:ext uri="{FF2B5EF4-FFF2-40B4-BE49-F238E27FC236}">
                <a16:creationId xmlns:a16="http://schemas.microsoft.com/office/drawing/2014/main" id="{2A195CCE-6C48-C0F0-4430-88CB8D8C76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2200" y="-67789"/>
            <a:ext cx="1619250" cy="161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04191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69877"/>
            <a:ext cx="11473224" cy="1069396"/>
          </a:xfrm>
        </p:spPr>
        <p:txBody>
          <a:bodyPr/>
          <a:lstStyle/>
          <a:p>
            <a:pPr algn="ctr"/>
            <a:r>
              <a:rPr lang="ru-RU" sz="3200" dirty="0" smtClean="0"/>
              <a:t>Из письма ГФ о </a:t>
            </a:r>
            <a:r>
              <a:rPr lang="ru-RU" sz="3200" dirty="0"/>
              <a:t>выделении </a:t>
            </a:r>
            <a:r>
              <a:rPr lang="ru-RU" sz="3200" dirty="0" smtClean="0"/>
              <a:t>средств</a:t>
            </a:r>
            <a:br>
              <a:rPr lang="ru-RU" sz="3200" dirty="0" smtClean="0"/>
            </a:br>
            <a:r>
              <a:rPr lang="ru-RU" sz="3200" dirty="0" smtClean="0">
                <a:solidFill>
                  <a:srgbClr val="FF0000"/>
                </a:solidFill>
              </a:rPr>
              <a:t>Цели выделения средств</a:t>
            </a:r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64458" y="1226911"/>
            <a:ext cx="11473225" cy="787370"/>
          </a:xfrm>
        </p:spPr>
        <p:txBody>
          <a:bodyPr>
            <a:noAutofit/>
          </a:bodyPr>
          <a:lstStyle/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Выделение </a:t>
            </a:r>
            <a:r>
              <a:rPr lang="ru-RU" sz="2400" dirty="0"/>
              <a:t>средств на компонент по </a:t>
            </a:r>
            <a:r>
              <a:rPr lang="ru-RU" sz="2400" dirty="0" smtClean="0"/>
              <a:t>ТБ </a:t>
            </a:r>
            <a:r>
              <a:rPr lang="ru-RU" sz="2400" dirty="0"/>
              <a:t>скорректировано таким образом, чтобы обеспечить продолжение основной программной деятельности, поддержанной </a:t>
            </a:r>
            <a:r>
              <a:rPr lang="ru-RU" sz="2400" dirty="0" smtClean="0"/>
              <a:t>ГФ </a:t>
            </a:r>
            <a:r>
              <a:rPr lang="ru-RU" sz="2400" dirty="0"/>
              <a:t>в период финансирования с 2020 по 2022 </a:t>
            </a:r>
            <a:r>
              <a:rPr lang="ru-RU" sz="2400" dirty="0" smtClean="0"/>
              <a:t>год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Выделение </a:t>
            </a:r>
            <a:r>
              <a:rPr lang="ru-RU" sz="2400" dirty="0"/>
              <a:t>средств по компоненту ВИЧ скорректировано таким образом, чтобы лучше учитывать бремя и потребности ключевых и уязвимых групп населения…особенно это касается </a:t>
            </a:r>
            <a:r>
              <a:rPr lang="ru-RU" sz="2400" dirty="0" smtClean="0"/>
              <a:t>ЛУИН.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ГФ </a:t>
            </a:r>
            <a:r>
              <a:rPr lang="ru-RU" sz="2400" dirty="0"/>
              <a:t>поощряет ускоренный переход на менее продолжительные режимы лечения </a:t>
            </a:r>
            <a:r>
              <a:rPr lang="ru-RU" sz="2400" dirty="0" smtClean="0"/>
              <a:t>ЛУ ТБ (в </a:t>
            </a:r>
            <a:r>
              <a:rPr lang="ru-RU" sz="2400" dirty="0"/>
              <a:t>том числе на режим </a:t>
            </a:r>
            <a:r>
              <a:rPr lang="ru-RU" sz="2400" dirty="0" err="1"/>
              <a:t>BPaL</a:t>
            </a:r>
            <a:r>
              <a:rPr lang="ru-RU" sz="2400" dirty="0"/>
              <a:t>(M</a:t>
            </a:r>
            <a:r>
              <a:rPr lang="ru-RU" sz="2400" dirty="0" smtClean="0"/>
              <a:t>)).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ГФ </a:t>
            </a:r>
            <a:r>
              <a:rPr lang="ru-RU" sz="2400" dirty="0"/>
              <a:t>рассчитывает, что </a:t>
            </a:r>
            <a:r>
              <a:rPr lang="ru-RU" sz="2400" dirty="0" smtClean="0"/>
              <a:t>КР </a:t>
            </a:r>
            <a:r>
              <a:rPr lang="ru-RU" sz="2400" dirty="0"/>
              <a:t>продолжит работать над устранением существенного разрыва, существующего в лабораторных и лечебных возможностях у разных регионов </a:t>
            </a:r>
            <a:r>
              <a:rPr lang="ru-RU" sz="2400" dirty="0" smtClean="0"/>
              <a:t>страны.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6601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269877"/>
            <a:ext cx="11473224" cy="1069396"/>
          </a:xfrm>
        </p:spPr>
        <p:txBody>
          <a:bodyPr/>
          <a:lstStyle/>
          <a:p>
            <a:pPr algn="ctr"/>
            <a:r>
              <a:rPr lang="ru-RU" sz="3200" dirty="0" smtClean="0"/>
              <a:t>Из письма ГФ о </a:t>
            </a:r>
            <a:r>
              <a:rPr lang="ru-RU" sz="3200" dirty="0"/>
              <a:t>выделении </a:t>
            </a:r>
            <a:r>
              <a:rPr lang="ru-RU" sz="3200" dirty="0" smtClean="0"/>
              <a:t>средств</a:t>
            </a:r>
            <a:br>
              <a:rPr lang="ru-RU" sz="3200" dirty="0" smtClean="0"/>
            </a:br>
            <a:r>
              <a:rPr lang="ru-RU" sz="3200" dirty="0">
                <a:solidFill>
                  <a:srgbClr val="FF0000"/>
                </a:solidFill>
              </a:rPr>
              <a:t>Условия получения доступа к финансированию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64458" y="1226911"/>
            <a:ext cx="11473225" cy="787370"/>
          </a:xfrm>
        </p:spPr>
        <p:txBody>
          <a:bodyPr>
            <a:noAutofit/>
          </a:bodyPr>
          <a:lstStyle/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/>
              <a:t>Соблюдение требований 1 и 2 оценивается на этапе подачи заявки на финансирование, требованиям с 3 по 6 – как при подаче заявки, так и </a:t>
            </a:r>
            <a:r>
              <a:rPr lang="ru-RU" sz="2400" dirty="0" smtClean="0"/>
              <a:t>ежегодно.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 smtClean="0"/>
              <a:t>Чтобы </a:t>
            </a:r>
            <a:r>
              <a:rPr lang="ru-RU" sz="2400" dirty="0"/>
              <a:t>получить доступ к полному финансированию на 2023-2025 годы, страны должны выполнить требования </a:t>
            </a:r>
            <a:r>
              <a:rPr lang="ru-RU" sz="2400" dirty="0" smtClean="0"/>
              <a:t>ГФ </a:t>
            </a:r>
            <a:r>
              <a:rPr lang="ru-RU" sz="2400" dirty="0"/>
              <a:t>к </a:t>
            </a:r>
            <a:r>
              <a:rPr lang="ru-RU" sz="2400" dirty="0" smtClean="0"/>
              <a:t>софинансированию (увеличение </a:t>
            </a:r>
            <a:r>
              <a:rPr lang="ru-RU" sz="2400" dirty="0" err="1" smtClean="0"/>
              <a:t>гос.финансирования</a:t>
            </a:r>
            <a:r>
              <a:rPr lang="ru-RU" sz="2400" dirty="0" smtClean="0"/>
              <a:t> на не менее 15% суммы гранта).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ru-RU" sz="2400" dirty="0"/>
              <a:t>Особенно важно уделять внимание затратам на человеческие ресурсы и накладным расходам, сводя такие затраты к минимуму и приводя их в соответствие с ценой за единицу, применяемой в национальных системах</a:t>
            </a: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2BE927-25C7-4379-86F1-C17ED9D2A7F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5919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Главная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Главная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ssential</Template>
  <TotalTime>2697</TotalTime>
  <Words>5674</Words>
  <Application>Microsoft Office PowerPoint</Application>
  <PresentationFormat>Широкоэкранный</PresentationFormat>
  <Paragraphs>575</Paragraphs>
  <Slides>42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53" baseType="lpstr">
      <vt:lpstr>Arial</vt:lpstr>
      <vt:lpstr>Arial Black</vt:lpstr>
      <vt:lpstr>Calibri</vt:lpstr>
      <vt:lpstr>Lucida Grande</vt:lpstr>
      <vt:lpstr>Symbol</vt:lpstr>
      <vt:lpstr>Times New Roman</vt:lpstr>
      <vt:lpstr>Trebuchet MS</vt:lpstr>
      <vt:lpstr>Wingdings</vt:lpstr>
      <vt:lpstr>Главная</vt:lpstr>
      <vt:lpstr>5_Office Theme</vt:lpstr>
      <vt:lpstr>think-cell Slide</vt:lpstr>
      <vt:lpstr> Запрос на финансирование в ГФ на 2024-2026 гг.  И почему подготовлен таким образом!!!</vt:lpstr>
      <vt:lpstr>Презентация PowerPoint</vt:lpstr>
      <vt:lpstr>Презентация PowerPoint</vt:lpstr>
      <vt:lpstr>Страновой диалог в ходе разработки запроса на финансирование</vt:lpstr>
      <vt:lpstr>Критически важные компоненты программ : Примеры </vt:lpstr>
      <vt:lpstr>Критически важные компоненты программ включены в качестве одного из многих средств для определения приоритетов стран</vt:lpstr>
      <vt:lpstr>Презентация PowerPoint</vt:lpstr>
      <vt:lpstr>Из письма ГФ о выделении средств Цели выделения средств</vt:lpstr>
      <vt:lpstr>Из письма ГФ о выделении средств Условия получения доступа к финансированию</vt:lpstr>
      <vt:lpstr>Из письма ГФ о выделении средств Важные инвестиции</vt:lpstr>
      <vt:lpstr>Портфолио-анализ (ТБ) TRP ГФ будет оценивать опираясь на него </vt:lpstr>
      <vt:lpstr>Портфолио-анализ (ТБ) TRP ГФ будет оценивать опираясь на него </vt:lpstr>
      <vt:lpstr>Портфолио-анализ (ТБ) </vt:lpstr>
      <vt:lpstr>Портфолио-анализ (ТБ) </vt:lpstr>
      <vt:lpstr>Портфолио-анализ (ВИЧ) </vt:lpstr>
      <vt:lpstr>Риски, связанные с дискуссиями </vt:lpstr>
      <vt:lpstr>По поступившим комментариям</vt:lpstr>
      <vt:lpstr>Дальнейшие шаги (дедлайн 17-го марта пятница)</vt:lpstr>
      <vt:lpstr>Содержание заявки </vt:lpstr>
      <vt:lpstr>   Модуль 1. Планирование и управление сектором здравоохранения </vt:lpstr>
      <vt:lpstr>Модуль 2.  Укрепление систем сообществ</vt:lpstr>
      <vt:lpstr>Модуль 3.  Управление программой </vt:lpstr>
      <vt:lpstr>Модуль 4, 6. Пакет профилактических мер для МСМ, ТГ</vt:lpstr>
      <vt:lpstr>Модуль 5. Пакет профилактических мер для секс-работников, их клиентов и других сексуальных партнеров</vt:lpstr>
      <vt:lpstr>Модуль 7. Пакет профилактики для ЛУН (инъекционные и неинъекционные) и их половых партнеров</vt:lpstr>
      <vt:lpstr>Модуль 8. Пакет профилактических мер для лиц, находящихся в тюрьмах и других закрытых учреждениях</vt:lpstr>
      <vt:lpstr>Модуль 9. Дифференцированное тестирование на ВИЧ</vt:lpstr>
      <vt:lpstr>Модуль 10. Лечение, уход и поддержка</vt:lpstr>
      <vt:lpstr>Модуль 11. ТБ/ВИЧ</vt:lpstr>
      <vt:lpstr>Модуль 12. Снижение барьеров на пути к ВИЧ/ТБ, связанных с правами человека</vt:lpstr>
      <vt:lpstr>Модуль 12. Снижение барьеров на пути к ВИЧ/ТБ, связанных с правами человека</vt:lpstr>
      <vt:lpstr>Модуль 12. Снижение барьеров на пути к ВИЧ/ТБ, связанных с правами человека</vt:lpstr>
      <vt:lpstr>Модуль 12. Снижение барьеров на пути к ВИЧ/ТБ, связанных с правами человека</vt:lpstr>
      <vt:lpstr>Модуль 12. Снижение барьеров на пути к ВИЧ/ТБ, связанных с правами человека</vt:lpstr>
      <vt:lpstr>Модуль 13. Лекарственно-устойчивый (ЛУ)-ТБ: Диагностика, лечение и уход</vt:lpstr>
      <vt:lpstr>Модуль 13. Лекарственно-устойчивый (ЛУ)-ТБ: Диагностика, лечение и уход</vt:lpstr>
      <vt:lpstr>Модуль 13. Лекарственно-устойчивый (ЛУ)-ТБ: Диагностика, лечение и уход</vt:lpstr>
      <vt:lpstr>6. Источники финансирования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O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dmin</dc:creator>
  <cp:lastModifiedBy>USER</cp:lastModifiedBy>
  <cp:revision>108</cp:revision>
  <dcterms:created xsi:type="dcterms:W3CDTF">2017-02-28T09:07:45Z</dcterms:created>
  <dcterms:modified xsi:type="dcterms:W3CDTF">2023-03-06T05:41:46Z</dcterms:modified>
</cp:coreProperties>
</file>